
<file path=[Content_Types].xml><?xml version="1.0" encoding="utf-8"?>
<Types xmlns="http://schemas.openxmlformats.org/package/2006/content-types">
  <Default Extension="fntdata" ContentType="application/x-fontdata"/>
  <Default Extension="jfif" ContentType="image/jpeg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ppt/tags/tag4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 autoCompressPictures="0">
  <p:sldMasterIdLst>
    <p:sldMasterId id="2147483648" r:id="rId5"/>
  </p:sldMasterIdLst>
  <p:notesMasterIdLst>
    <p:notesMasterId r:id="rId42"/>
  </p:notesMasterIdLst>
  <p:handoutMasterIdLst>
    <p:handoutMasterId r:id="rId43"/>
  </p:handoutMasterIdLst>
  <p:sldIdLst>
    <p:sldId id="256" r:id="rId6"/>
    <p:sldId id="263" r:id="rId7"/>
    <p:sldId id="2145705784" r:id="rId8"/>
    <p:sldId id="2018" r:id="rId9"/>
    <p:sldId id="2076138854" r:id="rId10"/>
    <p:sldId id="278" r:id="rId11"/>
    <p:sldId id="2146846860" r:id="rId12"/>
    <p:sldId id="257" r:id="rId13"/>
    <p:sldId id="2068" r:id="rId14"/>
    <p:sldId id="2146846861" r:id="rId15"/>
    <p:sldId id="2146846866" r:id="rId16"/>
    <p:sldId id="2146846867" r:id="rId17"/>
    <p:sldId id="2146846868" r:id="rId18"/>
    <p:sldId id="2146846869" r:id="rId19"/>
    <p:sldId id="2146846870" r:id="rId20"/>
    <p:sldId id="2146846871" r:id="rId21"/>
    <p:sldId id="2146846872" r:id="rId22"/>
    <p:sldId id="2146846873" r:id="rId23"/>
    <p:sldId id="2071" r:id="rId24"/>
    <p:sldId id="2073" r:id="rId25"/>
    <p:sldId id="2146846874" r:id="rId26"/>
    <p:sldId id="2146846875" r:id="rId27"/>
    <p:sldId id="2146846876" r:id="rId28"/>
    <p:sldId id="2146846877" r:id="rId29"/>
    <p:sldId id="2146846878" r:id="rId30"/>
    <p:sldId id="2077" r:id="rId31"/>
    <p:sldId id="2146846879" r:id="rId32"/>
    <p:sldId id="2076" r:id="rId33"/>
    <p:sldId id="2146846881" r:id="rId34"/>
    <p:sldId id="2146846880" r:id="rId35"/>
    <p:sldId id="2146846882" r:id="rId36"/>
    <p:sldId id="2146846857" r:id="rId37"/>
    <p:sldId id="2076138843" r:id="rId38"/>
    <p:sldId id="467" r:id="rId39"/>
    <p:sldId id="2145705783" r:id="rId40"/>
    <p:sldId id="2146846865" r:id="rId41"/>
  </p:sldIdLst>
  <p:sldSz cx="9144000" cy="5143500" type="screen16x9"/>
  <p:notesSz cx="6858000" cy="9144000"/>
  <p:embeddedFontLst>
    <p:embeddedFont>
      <p:font typeface="Calibri" panose="020F0502020204030204" pitchFamily="34" charset="0"/>
      <p:regular r:id="rId44"/>
      <p:bold r:id="rId45"/>
      <p:italic r:id="rId46"/>
      <p:boldItalic r:id="rId47"/>
    </p:embeddedFont>
    <p:embeddedFont>
      <p:font typeface="IBM Plex Sans" panose="020B0503050203000203" pitchFamily="34" charset="0"/>
      <p:regular r:id="rId48"/>
      <p:bold r:id="rId49"/>
      <p:italic r:id="rId50"/>
      <p:boldItalic r:id="rId51"/>
    </p:embeddedFont>
    <p:embeddedFont>
      <p:font typeface="Segoe UI Black" panose="020B0A02040204020203" pitchFamily="34" charset="0"/>
      <p:bold r:id="rId52"/>
      <p:boldItalic r:id="rId53"/>
    </p:embeddedFont>
    <p:embeddedFont>
      <p:font typeface="Segoe UI Light" panose="020B0502040204020203" pitchFamily="34" charset="0"/>
      <p:regular r:id="rId54"/>
      <p:italic r:id="rId55"/>
    </p:embeddedFont>
    <p:embeddedFont>
      <p:font typeface="Verdana" panose="020B0604030504040204" pitchFamily="34" charset="0"/>
      <p:regular r:id="rId56"/>
      <p:bold r:id="rId57"/>
      <p:italic r:id="rId58"/>
      <p:boldItalic r:id="rId59"/>
    </p:embeddedFont>
  </p:embeddedFont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BA12"/>
    <a:srgbClr val="343741"/>
    <a:srgbClr val="EC0089"/>
    <a:srgbClr val="1F0047"/>
    <a:srgbClr val="4C6169"/>
    <a:srgbClr val="123E64"/>
    <a:srgbClr val="FF8641"/>
    <a:srgbClr val="149089"/>
    <a:srgbClr val="111111"/>
    <a:srgbClr val="CA007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614" autoAdjust="0"/>
    <p:restoredTop sz="94558" autoAdjust="0"/>
  </p:normalViewPr>
  <p:slideViewPr>
    <p:cSldViewPr snapToObjects="1">
      <p:cViewPr varScale="1">
        <p:scale>
          <a:sx n="104" d="100"/>
          <a:sy n="104" d="100"/>
        </p:scale>
        <p:origin x="91" y="144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notesMaster" Target="notesMasters/notesMaster1.xml"/><Relationship Id="rId47" Type="http://schemas.openxmlformats.org/officeDocument/2006/relationships/font" Target="fonts/font4.fntdata"/><Relationship Id="rId50" Type="http://schemas.openxmlformats.org/officeDocument/2006/relationships/font" Target="fonts/font7.fntdata"/><Relationship Id="rId55" Type="http://schemas.openxmlformats.org/officeDocument/2006/relationships/font" Target="fonts/font12.fntdata"/><Relationship Id="rId63" Type="http://schemas.openxmlformats.org/officeDocument/2006/relationships/tableStyles" Target="tableStyle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font" Target="fonts/font2.fntdata"/><Relationship Id="rId53" Type="http://schemas.openxmlformats.org/officeDocument/2006/relationships/font" Target="fonts/font10.fntdata"/><Relationship Id="rId58" Type="http://schemas.openxmlformats.org/officeDocument/2006/relationships/font" Target="fonts/font15.fntdata"/><Relationship Id="rId5" Type="http://schemas.openxmlformats.org/officeDocument/2006/relationships/slideMaster" Target="slideMasters/slideMaster1.xml"/><Relationship Id="rId61" Type="http://schemas.openxmlformats.org/officeDocument/2006/relationships/viewProps" Target="viewProps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handoutMaster" Target="handoutMasters/handoutMaster1.xml"/><Relationship Id="rId48" Type="http://schemas.openxmlformats.org/officeDocument/2006/relationships/font" Target="fonts/font5.fntdata"/><Relationship Id="rId56" Type="http://schemas.openxmlformats.org/officeDocument/2006/relationships/font" Target="fonts/font13.fntdata"/><Relationship Id="rId64" Type="http://schemas.microsoft.com/office/2016/11/relationships/changesInfo" Target="changesInfos/changesInfo1.xml"/><Relationship Id="rId8" Type="http://schemas.openxmlformats.org/officeDocument/2006/relationships/slide" Target="slides/slide3.xml"/><Relationship Id="rId51" Type="http://schemas.openxmlformats.org/officeDocument/2006/relationships/font" Target="fonts/font8.fntdata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font" Target="fonts/font3.fntdata"/><Relationship Id="rId59" Type="http://schemas.openxmlformats.org/officeDocument/2006/relationships/font" Target="fonts/font16.fntdata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font" Target="fonts/font11.fntdata"/><Relationship Id="rId62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font" Target="fonts/font6.fntdata"/><Relationship Id="rId57" Type="http://schemas.openxmlformats.org/officeDocument/2006/relationships/font" Target="fonts/font14.fntdata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font" Target="fonts/font1.fntdata"/><Relationship Id="rId52" Type="http://schemas.openxmlformats.org/officeDocument/2006/relationships/font" Target="fonts/font9.fntdata"/><Relationship Id="rId60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teusz Rudzki" userId="aa649b78-41d5-4252-a7cc-9416bf06c744" providerId="ADAL" clId="{E39460C8-93C1-430F-B908-327D60B10093}"/>
    <pc:docChg chg="undo redo custSel addSld delSld modSld sldOrd">
      <pc:chgData name="Mateusz Rudzki" userId="aa649b78-41d5-4252-a7cc-9416bf06c744" providerId="ADAL" clId="{E39460C8-93C1-430F-B908-327D60B10093}" dt="2022-05-27T06:17:22.702" v="399" actId="47"/>
      <pc:docMkLst>
        <pc:docMk/>
      </pc:docMkLst>
      <pc:sldChg chg="modSp mod">
        <pc:chgData name="Mateusz Rudzki" userId="aa649b78-41d5-4252-a7cc-9416bf06c744" providerId="ADAL" clId="{E39460C8-93C1-430F-B908-327D60B10093}" dt="2022-05-26T13:32:08.197" v="62" actId="207"/>
        <pc:sldMkLst>
          <pc:docMk/>
          <pc:sldMk cId="340351180" sldId="257"/>
        </pc:sldMkLst>
        <pc:spChg chg="mod">
          <ac:chgData name="Mateusz Rudzki" userId="aa649b78-41d5-4252-a7cc-9416bf06c744" providerId="ADAL" clId="{E39460C8-93C1-430F-B908-327D60B10093}" dt="2022-05-26T13:32:08.197" v="62" actId="207"/>
          <ac:spMkLst>
            <pc:docMk/>
            <pc:sldMk cId="340351180" sldId="257"/>
            <ac:spMk id="2" creationId="{4E85ED10-54DD-4023-9315-ED3CD119C39A}"/>
          </ac:spMkLst>
        </pc:spChg>
      </pc:sldChg>
      <pc:sldChg chg="modSp mod">
        <pc:chgData name="Mateusz Rudzki" userId="aa649b78-41d5-4252-a7cc-9416bf06c744" providerId="ADAL" clId="{E39460C8-93C1-430F-B908-327D60B10093}" dt="2022-05-26T13:31:07.882" v="52" actId="207"/>
        <pc:sldMkLst>
          <pc:docMk/>
          <pc:sldMk cId="3420552308" sldId="263"/>
        </pc:sldMkLst>
        <pc:spChg chg="mod">
          <ac:chgData name="Mateusz Rudzki" userId="aa649b78-41d5-4252-a7cc-9416bf06c744" providerId="ADAL" clId="{E39460C8-93C1-430F-B908-327D60B10093}" dt="2022-05-26T13:31:07.882" v="52" actId="207"/>
          <ac:spMkLst>
            <pc:docMk/>
            <pc:sldMk cId="3420552308" sldId="263"/>
            <ac:spMk id="3" creationId="{D944984C-634C-4ED0-B981-94C45DEC1281}"/>
          </ac:spMkLst>
        </pc:spChg>
      </pc:sldChg>
      <pc:sldChg chg="modSp add mod modClrScheme chgLayout">
        <pc:chgData name="Mateusz Rudzki" userId="aa649b78-41d5-4252-a7cc-9416bf06c744" providerId="ADAL" clId="{E39460C8-93C1-430F-B908-327D60B10093}" dt="2022-05-26T13:32:40.777" v="66" actId="1076"/>
        <pc:sldMkLst>
          <pc:docMk/>
          <pc:sldMk cId="459501600" sldId="278"/>
        </pc:sldMkLst>
        <pc:spChg chg="mod ord">
          <ac:chgData name="Mateusz Rudzki" userId="aa649b78-41d5-4252-a7cc-9416bf06c744" providerId="ADAL" clId="{E39460C8-93C1-430F-B908-327D60B10093}" dt="2022-05-26T13:32:37.674" v="65" actId="700"/>
          <ac:spMkLst>
            <pc:docMk/>
            <pc:sldMk cId="459501600" sldId="278"/>
            <ac:spMk id="2" creationId="{E53A1F8E-DF04-4EC6-BAF7-C751AA2255C3}"/>
          </ac:spMkLst>
        </pc:spChg>
        <pc:spChg chg="mod ord">
          <ac:chgData name="Mateusz Rudzki" userId="aa649b78-41d5-4252-a7cc-9416bf06c744" providerId="ADAL" clId="{E39460C8-93C1-430F-B908-327D60B10093}" dt="2022-05-26T13:32:40.777" v="66" actId="1076"/>
          <ac:spMkLst>
            <pc:docMk/>
            <pc:sldMk cId="459501600" sldId="278"/>
            <ac:spMk id="10" creationId="{52D04C4A-278C-475C-A67A-B8D842D64281}"/>
          </ac:spMkLst>
        </pc:spChg>
        <pc:spChg chg="mod">
          <ac:chgData name="Mateusz Rudzki" userId="aa649b78-41d5-4252-a7cc-9416bf06c744" providerId="ADAL" clId="{E39460C8-93C1-430F-B908-327D60B10093}" dt="2022-05-26T13:24:49.484" v="25" actId="255"/>
          <ac:spMkLst>
            <pc:docMk/>
            <pc:sldMk cId="459501600" sldId="278"/>
            <ac:spMk id="16" creationId="{DA5C479B-BF71-4E4F-AAF6-6229E751E096}"/>
          </ac:spMkLst>
        </pc:spChg>
        <pc:spChg chg="mod">
          <ac:chgData name="Mateusz Rudzki" userId="aa649b78-41d5-4252-a7cc-9416bf06c744" providerId="ADAL" clId="{E39460C8-93C1-430F-B908-327D60B10093}" dt="2022-05-26T13:23:36.910" v="9" actId="207"/>
          <ac:spMkLst>
            <pc:docMk/>
            <pc:sldMk cId="459501600" sldId="278"/>
            <ac:spMk id="17" creationId="{00000000-0000-0000-0000-000000000000}"/>
          </ac:spMkLst>
        </pc:spChg>
        <pc:spChg chg="mod">
          <ac:chgData name="Mateusz Rudzki" userId="aa649b78-41d5-4252-a7cc-9416bf06c744" providerId="ADAL" clId="{E39460C8-93C1-430F-B908-327D60B10093}" dt="2022-05-26T13:24:58.192" v="27" actId="207"/>
          <ac:spMkLst>
            <pc:docMk/>
            <pc:sldMk cId="459501600" sldId="278"/>
            <ac:spMk id="18" creationId="{00000000-0000-0000-0000-000000000000}"/>
          </ac:spMkLst>
        </pc:spChg>
        <pc:spChg chg="mod">
          <ac:chgData name="Mateusz Rudzki" userId="aa649b78-41d5-4252-a7cc-9416bf06c744" providerId="ADAL" clId="{E39460C8-93C1-430F-B908-327D60B10093}" dt="2022-05-26T13:23:36.910" v="9" actId="207"/>
          <ac:spMkLst>
            <pc:docMk/>
            <pc:sldMk cId="459501600" sldId="278"/>
            <ac:spMk id="19" creationId="{00000000-0000-0000-0000-000000000000}"/>
          </ac:spMkLst>
        </pc:spChg>
        <pc:spChg chg="mod">
          <ac:chgData name="Mateusz Rudzki" userId="aa649b78-41d5-4252-a7cc-9416bf06c744" providerId="ADAL" clId="{E39460C8-93C1-430F-B908-327D60B10093}" dt="2022-05-26T13:25:00.652" v="28" actId="207"/>
          <ac:spMkLst>
            <pc:docMk/>
            <pc:sldMk cId="459501600" sldId="278"/>
            <ac:spMk id="23" creationId="{00000000-0000-0000-0000-000000000000}"/>
          </ac:spMkLst>
        </pc:spChg>
        <pc:spChg chg="mod">
          <ac:chgData name="Mateusz Rudzki" userId="aa649b78-41d5-4252-a7cc-9416bf06c744" providerId="ADAL" clId="{E39460C8-93C1-430F-B908-327D60B10093}" dt="2022-05-26T13:25:02.539" v="29" actId="207"/>
          <ac:spMkLst>
            <pc:docMk/>
            <pc:sldMk cId="459501600" sldId="278"/>
            <ac:spMk id="24" creationId="{00000000-0000-0000-0000-000000000000}"/>
          </ac:spMkLst>
        </pc:spChg>
        <pc:spChg chg="mod">
          <ac:chgData name="Mateusz Rudzki" userId="aa649b78-41d5-4252-a7cc-9416bf06c744" providerId="ADAL" clId="{E39460C8-93C1-430F-B908-327D60B10093}" dt="2022-05-26T13:24:56.456" v="26" actId="207"/>
          <ac:spMkLst>
            <pc:docMk/>
            <pc:sldMk cId="459501600" sldId="278"/>
            <ac:spMk id="25" creationId="{00000000-0000-0000-0000-000000000000}"/>
          </ac:spMkLst>
        </pc:spChg>
        <pc:spChg chg="mod">
          <ac:chgData name="Mateusz Rudzki" userId="aa649b78-41d5-4252-a7cc-9416bf06c744" providerId="ADAL" clId="{E39460C8-93C1-430F-B908-327D60B10093}" dt="2022-05-26T13:23:36.910" v="9" actId="207"/>
          <ac:spMkLst>
            <pc:docMk/>
            <pc:sldMk cId="459501600" sldId="278"/>
            <ac:spMk id="26" creationId="{00000000-0000-0000-0000-000000000000}"/>
          </ac:spMkLst>
        </pc:spChg>
        <pc:spChg chg="mod">
          <ac:chgData name="Mateusz Rudzki" userId="aa649b78-41d5-4252-a7cc-9416bf06c744" providerId="ADAL" clId="{E39460C8-93C1-430F-B908-327D60B10093}" dt="2022-05-26T13:23:36.910" v="9" actId="207"/>
          <ac:spMkLst>
            <pc:docMk/>
            <pc:sldMk cId="459501600" sldId="278"/>
            <ac:spMk id="27" creationId="{00000000-0000-0000-0000-000000000000}"/>
          </ac:spMkLst>
        </pc:spChg>
        <pc:spChg chg="mod">
          <ac:chgData name="Mateusz Rudzki" userId="aa649b78-41d5-4252-a7cc-9416bf06c744" providerId="ADAL" clId="{E39460C8-93C1-430F-B908-327D60B10093}" dt="2022-05-26T13:23:36.910" v="9" actId="207"/>
          <ac:spMkLst>
            <pc:docMk/>
            <pc:sldMk cId="459501600" sldId="278"/>
            <ac:spMk id="28" creationId="{00000000-0000-0000-0000-000000000000}"/>
          </ac:spMkLst>
        </pc:spChg>
        <pc:picChg chg="mod">
          <ac:chgData name="Mateusz Rudzki" userId="aa649b78-41d5-4252-a7cc-9416bf06c744" providerId="ADAL" clId="{E39460C8-93C1-430F-B908-327D60B10093}" dt="2022-05-26T13:23:36.910" v="9" actId="207"/>
          <ac:picMkLst>
            <pc:docMk/>
            <pc:sldMk cId="459501600" sldId="278"/>
            <ac:picMk id="20" creationId="{00000000-0000-0000-0000-000000000000}"/>
          </ac:picMkLst>
        </pc:picChg>
        <pc:picChg chg="mod">
          <ac:chgData name="Mateusz Rudzki" userId="aa649b78-41d5-4252-a7cc-9416bf06c744" providerId="ADAL" clId="{E39460C8-93C1-430F-B908-327D60B10093}" dt="2022-05-26T13:23:36.910" v="9" actId="207"/>
          <ac:picMkLst>
            <pc:docMk/>
            <pc:sldMk cId="459501600" sldId="278"/>
            <ac:picMk id="21" creationId="{00000000-0000-0000-0000-000000000000}"/>
          </ac:picMkLst>
        </pc:picChg>
        <pc:picChg chg="mod">
          <ac:chgData name="Mateusz Rudzki" userId="aa649b78-41d5-4252-a7cc-9416bf06c744" providerId="ADAL" clId="{E39460C8-93C1-430F-B908-327D60B10093}" dt="2022-05-26T13:23:36.910" v="9" actId="207"/>
          <ac:picMkLst>
            <pc:docMk/>
            <pc:sldMk cId="459501600" sldId="278"/>
            <ac:picMk id="22" creationId="{00000000-0000-0000-0000-000000000000}"/>
          </ac:picMkLst>
        </pc:picChg>
      </pc:sldChg>
      <pc:sldChg chg="delSp modSp add mod modClrScheme chgLayout">
        <pc:chgData name="Mateusz Rudzki" userId="aa649b78-41d5-4252-a7cc-9416bf06c744" providerId="ADAL" clId="{E39460C8-93C1-430F-B908-327D60B10093}" dt="2022-05-27T06:16:57.233" v="397" actId="478"/>
        <pc:sldMkLst>
          <pc:docMk/>
          <pc:sldMk cId="1709457296" sldId="467"/>
        </pc:sldMkLst>
        <pc:spChg chg="mod">
          <ac:chgData name="Mateusz Rudzki" userId="aa649b78-41d5-4252-a7cc-9416bf06c744" providerId="ADAL" clId="{E39460C8-93C1-430F-B908-327D60B10093}" dt="2022-05-27T06:15:44.418" v="380" actId="207"/>
          <ac:spMkLst>
            <pc:docMk/>
            <pc:sldMk cId="1709457296" sldId="467"/>
            <ac:spMk id="11" creationId="{706503B1-260E-47FF-9314-CBDB785B4760}"/>
          </ac:spMkLst>
        </pc:spChg>
        <pc:spChg chg="mod">
          <ac:chgData name="Mateusz Rudzki" userId="aa649b78-41d5-4252-a7cc-9416bf06c744" providerId="ADAL" clId="{E39460C8-93C1-430F-B908-327D60B10093}" dt="2022-05-27T06:15:57.542" v="383" actId="1076"/>
          <ac:spMkLst>
            <pc:docMk/>
            <pc:sldMk cId="1709457296" sldId="467"/>
            <ac:spMk id="13" creationId="{C326BB86-C5A2-4AAA-9E93-CB30B1D8E906}"/>
          </ac:spMkLst>
        </pc:spChg>
        <pc:spChg chg="mod">
          <ac:chgData name="Mateusz Rudzki" userId="aa649b78-41d5-4252-a7cc-9416bf06c744" providerId="ADAL" clId="{E39460C8-93C1-430F-B908-327D60B10093}" dt="2022-05-27T06:15:44.418" v="380" actId="207"/>
          <ac:spMkLst>
            <pc:docMk/>
            <pc:sldMk cId="1709457296" sldId="467"/>
            <ac:spMk id="16" creationId="{0038F529-620C-469E-97DD-9FBAF531FA21}"/>
          </ac:spMkLst>
        </pc:spChg>
        <pc:spChg chg="mod">
          <ac:chgData name="Mateusz Rudzki" userId="aa649b78-41d5-4252-a7cc-9416bf06c744" providerId="ADAL" clId="{E39460C8-93C1-430F-B908-327D60B10093}" dt="2022-05-27T06:15:44.418" v="380" actId="207"/>
          <ac:spMkLst>
            <pc:docMk/>
            <pc:sldMk cId="1709457296" sldId="467"/>
            <ac:spMk id="23" creationId="{4B5BCB8D-3549-4299-A933-15FA1203BFF5}"/>
          </ac:spMkLst>
        </pc:spChg>
        <pc:spChg chg="mod">
          <ac:chgData name="Mateusz Rudzki" userId="aa649b78-41d5-4252-a7cc-9416bf06c744" providerId="ADAL" clId="{E39460C8-93C1-430F-B908-327D60B10093}" dt="2022-05-27T06:15:44.418" v="380" actId="207"/>
          <ac:spMkLst>
            <pc:docMk/>
            <pc:sldMk cId="1709457296" sldId="467"/>
            <ac:spMk id="24" creationId="{375FEF98-D187-431E-A49B-5DB5FA563A6C}"/>
          </ac:spMkLst>
        </pc:spChg>
        <pc:spChg chg="mod">
          <ac:chgData name="Mateusz Rudzki" userId="aa649b78-41d5-4252-a7cc-9416bf06c744" providerId="ADAL" clId="{E39460C8-93C1-430F-B908-327D60B10093}" dt="2022-05-27T06:15:44.418" v="380" actId="207"/>
          <ac:spMkLst>
            <pc:docMk/>
            <pc:sldMk cId="1709457296" sldId="467"/>
            <ac:spMk id="25" creationId="{E0825242-DC30-4954-932D-F3D8B952CF2A}"/>
          </ac:spMkLst>
        </pc:spChg>
        <pc:spChg chg="mod">
          <ac:chgData name="Mateusz Rudzki" userId="aa649b78-41d5-4252-a7cc-9416bf06c744" providerId="ADAL" clId="{E39460C8-93C1-430F-B908-327D60B10093}" dt="2022-05-27T06:15:44.418" v="380" actId="207"/>
          <ac:spMkLst>
            <pc:docMk/>
            <pc:sldMk cId="1709457296" sldId="467"/>
            <ac:spMk id="26" creationId="{82606A56-732A-40AB-81D2-91F8EED7A6ED}"/>
          </ac:spMkLst>
        </pc:spChg>
        <pc:spChg chg="mod">
          <ac:chgData name="Mateusz Rudzki" userId="aa649b78-41d5-4252-a7cc-9416bf06c744" providerId="ADAL" clId="{E39460C8-93C1-430F-B908-327D60B10093}" dt="2022-05-27T06:15:44.418" v="380" actId="207"/>
          <ac:spMkLst>
            <pc:docMk/>
            <pc:sldMk cId="1709457296" sldId="467"/>
            <ac:spMk id="27" creationId="{EFBD021E-368A-4D4E-81C2-7903D35C263B}"/>
          </ac:spMkLst>
        </pc:spChg>
        <pc:spChg chg="mod">
          <ac:chgData name="Mateusz Rudzki" userId="aa649b78-41d5-4252-a7cc-9416bf06c744" providerId="ADAL" clId="{E39460C8-93C1-430F-B908-327D60B10093}" dt="2022-05-27T06:15:44.418" v="380" actId="207"/>
          <ac:spMkLst>
            <pc:docMk/>
            <pc:sldMk cId="1709457296" sldId="467"/>
            <ac:spMk id="28" creationId="{56ADE973-22F6-4910-9E97-5501E1E18D28}"/>
          </ac:spMkLst>
        </pc:spChg>
        <pc:picChg chg="del">
          <ac:chgData name="Mateusz Rudzki" userId="aa649b78-41d5-4252-a7cc-9416bf06c744" providerId="ADAL" clId="{E39460C8-93C1-430F-B908-327D60B10093}" dt="2022-05-27T06:16:57.233" v="397" actId="478"/>
          <ac:picMkLst>
            <pc:docMk/>
            <pc:sldMk cId="1709457296" sldId="467"/>
            <ac:picMk id="2" creationId="{B5B551C6-4304-4B82-B4DA-FBD1219FDC39}"/>
          </ac:picMkLst>
        </pc:picChg>
      </pc:sldChg>
      <pc:sldChg chg="del">
        <pc:chgData name="Mateusz Rudzki" userId="aa649b78-41d5-4252-a7cc-9416bf06c744" providerId="ADAL" clId="{E39460C8-93C1-430F-B908-327D60B10093}" dt="2022-05-27T06:17:15.672" v="398" actId="47"/>
        <pc:sldMkLst>
          <pc:docMk/>
          <pc:sldMk cId="4018626681" sldId="884"/>
        </pc:sldMkLst>
      </pc:sldChg>
      <pc:sldChg chg="del">
        <pc:chgData name="Mateusz Rudzki" userId="aa649b78-41d5-4252-a7cc-9416bf06c744" providerId="ADAL" clId="{E39460C8-93C1-430F-B908-327D60B10093}" dt="2022-05-27T06:17:15.672" v="398" actId="47"/>
        <pc:sldMkLst>
          <pc:docMk/>
          <pc:sldMk cId="1027288092" sldId="990"/>
        </pc:sldMkLst>
      </pc:sldChg>
      <pc:sldChg chg="del">
        <pc:chgData name="Mateusz Rudzki" userId="aa649b78-41d5-4252-a7cc-9416bf06c744" providerId="ADAL" clId="{E39460C8-93C1-430F-B908-327D60B10093}" dt="2022-05-27T06:17:22.702" v="399" actId="47"/>
        <pc:sldMkLst>
          <pc:docMk/>
          <pc:sldMk cId="4053232111" sldId="993"/>
        </pc:sldMkLst>
      </pc:sldChg>
      <pc:sldChg chg="del">
        <pc:chgData name="Mateusz Rudzki" userId="aa649b78-41d5-4252-a7cc-9416bf06c744" providerId="ADAL" clId="{E39460C8-93C1-430F-B908-327D60B10093}" dt="2022-05-27T06:17:15.672" v="398" actId="47"/>
        <pc:sldMkLst>
          <pc:docMk/>
          <pc:sldMk cId="2366462407" sldId="1748"/>
        </pc:sldMkLst>
      </pc:sldChg>
      <pc:sldChg chg="del">
        <pc:chgData name="Mateusz Rudzki" userId="aa649b78-41d5-4252-a7cc-9416bf06c744" providerId="ADAL" clId="{E39460C8-93C1-430F-B908-327D60B10093}" dt="2022-05-27T06:17:15.672" v="398" actId="47"/>
        <pc:sldMkLst>
          <pc:docMk/>
          <pc:sldMk cId="1187740798" sldId="1749"/>
        </pc:sldMkLst>
      </pc:sldChg>
      <pc:sldChg chg="del">
        <pc:chgData name="Mateusz Rudzki" userId="aa649b78-41d5-4252-a7cc-9416bf06c744" providerId="ADAL" clId="{E39460C8-93C1-430F-B908-327D60B10093}" dt="2022-05-27T06:17:22.702" v="399" actId="47"/>
        <pc:sldMkLst>
          <pc:docMk/>
          <pc:sldMk cId="2011642948" sldId="1753"/>
        </pc:sldMkLst>
      </pc:sldChg>
      <pc:sldChg chg="del">
        <pc:chgData name="Mateusz Rudzki" userId="aa649b78-41d5-4252-a7cc-9416bf06c744" providerId="ADAL" clId="{E39460C8-93C1-430F-B908-327D60B10093}" dt="2022-05-27T06:17:22.702" v="399" actId="47"/>
        <pc:sldMkLst>
          <pc:docMk/>
          <pc:sldMk cId="96763307" sldId="1754"/>
        </pc:sldMkLst>
      </pc:sldChg>
      <pc:sldChg chg="del">
        <pc:chgData name="Mateusz Rudzki" userId="aa649b78-41d5-4252-a7cc-9416bf06c744" providerId="ADAL" clId="{E39460C8-93C1-430F-B908-327D60B10093}" dt="2022-05-27T06:17:22.702" v="399" actId="47"/>
        <pc:sldMkLst>
          <pc:docMk/>
          <pc:sldMk cId="827469342" sldId="1755"/>
        </pc:sldMkLst>
      </pc:sldChg>
      <pc:sldChg chg="delSp modSp add mod modClrScheme chgLayout">
        <pc:chgData name="Mateusz Rudzki" userId="aa649b78-41d5-4252-a7cc-9416bf06c744" providerId="ADAL" clId="{E39460C8-93C1-430F-B908-327D60B10093}" dt="2022-05-26T13:35:54.160" v="109" actId="255"/>
        <pc:sldMkLst>
          <pc:docMk/>
          <pc:sldMk cId="4024782298" sldId="2068"/>
        </pc:sldMkLst>
        <pc:spChg chg="mod ord">
          <ac:chgData name="Mateusz Rudzki" userId="aa649b78-41d5-4252-a7cc-9416bf06c744" providerId="ADAL" clId="{E39460C8-93C1-430F-B908-327D60B10093}" dt="2022-05-26T13:33:03.166" v="71" actId="207"/>
          <ac:spMkLst>
            <pc:docMk/>
            <pc:sldMk cId="4024782298" sldId="2068"/>
            <ac:spMk id="2" creationId="{00000000-0000-0000-0000-000000000000}"/>
          </ac:spMkLst>
        </pc:spChg>
        <pc:spChg chg="del">
          <ac:chgData name="Mateusz Rudzki" userId="aa649b78-41d5-4252-a7cc-9416bf06c744" providerId="ADAL" clId="{E39460C8-93C1-430F-B908-327D60B10093}" dt="2022-05-26T13:33:27.968" v="76" actId="478"/>
          <ac:spMkLst>
            <pc:docMk/>
            <pc:sldMk cId="4024782298" sldId="2068"/>
            <ac:spMk id="3" creationId="{10E0F82D-83B4-4372-A00B-342BB7692240}"/>
          </ac:spMkLst>
        </pc:spChg>
        <pc:spChg chg="mod">
          <ac:chgData name="Mateusz Rudzki" userId="aa649b78-41d5-4252-a7cc-9416bf06c744" providerId="ADAL" clId="{E39460C8-93C1-430F-B908-327D60B10093}" dt="2022-05-26T13:33:44.915" v="79" actId="692"/>
          <ac:spMkLst>
            <pc:docMk/>
            <pc:sldMk cId="4024782298" sldId="2068"/>
            <ac:spMk id="9" creationId="{FC295F90-250D-4D04-9053-D338CABF663C}"/>
          </ac:spMkLst>
        </pc:spChg>
        <pc:spChg chg="mod">
          <ac:chgData name="Mateusz Rudzki" userId="aa649b78-41d5-4252-a7cc-9416bf06c744" providerId="ADAL" clId="{E39460C8-93C1-430F-B908-327D60B10093}" dt="2022-05-26T13:35:54.160" v="109" actId="255"/>
          <ac:spMkLst>
            <pc:docMk/>
            <pc:sldMk cId="4024782298" sldId="2068"/>
            <ac:spMk id="16" creationId="{00000000-0000-0000-0000-000000000000}"/>
          </ac:spMkLst>
        </pc:spChg>
      </pc:sldChg>
      <pc:sldChg chg="modSp add mod modClrScheme chgLayout">
        <pc:chgData name="Mateusz Rudzki" userId="aa649b78-41d5-4252-a7cc-9416bf06c744" providerId="ADAL" clId="{E39460C8-93C1-430F-B908-327D60B10093}" dt="2022-05-26T13:47:24.039" v="237" actId="255"/>
        <pc:sldMkLst>
          <pc:docMk/>
          <pc:sldMk cId="2998441265" sldId="2071"/>
        </pc:sldMkLst>
        <pc:spChg chg="mod ord">
          <ac:chgData name="Mateusz Rudzki" userId="aa649b78-41d5-4252-a7cc-9416bf06c744" providerId="ADAL" clId="{E39460C8-93C1-430F-B908-327D60B10093}" dt="2022-05-26T13:46:54.385" v="229" actId="255"/>
          <ac:spMkLst>
            <pc:docMk/>
            <pc:sldMk cId="2998441265" sldId="2071"/>
            <ac:spMk id="2" creationId="{3E6EB4E5-37C7-4F6F-BCC4-13E55E740C44}"/>
          </ac:spMkLst>
        </pc:spChg>
        <pc:spChg chg="mod">
          <ac:chgData name="Mateusz Rudzki" userId="aa649b78-41d5-4252-a7cc-9416bf06c744" providerId="ADAL" clId="{E39460C8-93C1-430F-B908-327D60B10093}" dt="2022-05-26T13:47:05.748" v="232" actId="207"/>
          <ac:spMkLst>
            <pc:docMk/>
            <pc:sldMk cId="2998441265" sldId="2071"/>
            <ac:spMk id="7" creationId="{AD26A087-3E1B-4C58-8C87-02F1AD5F6C6F}"/>
          </ac:spMkLst>
        </pc:spChg>
        <pc:spChg chg="mod">
          <ac:chgData name="Mateusz Rudzki" userId="aa649b78-41d5-4252-a7cc-9416bf06c744" providerId="ADAL" clId="{E39460C8-93C1-430F-B908-327D60B10093}" dt="2022-05-26T13:47:24.039" v="237" actId="255"/>
          <ac:spMkLst>
            <pc:docMk/>
            <pc:sldMk cId="2998441265" sldId="2071"/>
            <ac:spMk id="8" creationId="{2C1FE156-3E97-4B7E-BAE7-A5F79E996183}"/>
          </ac:spMkLst>
        </pc:spChg>
      </pc:sldChg>
      <pc:sldChg chg="modSp add mod modClrScheme chgLayout">
        <pc:chgData name="Mateusz Rudzki" userId="aa649b78-41d5-4252-a7cc-9416bf06c744" providerId="ADAL" clId="{E39460C8-93C1-430F-B908-327D60B10093}" dt="2022-05-26T13:49:39.075" v="258" actId="14100"/>
        <pc:sldMkLst>
          <pc:docMk/>
          <pc:sldMk cId="1717677774" sldId="2073"/>
        </pc:sldMkLst>
        <pc:spChg chg="mod ord">
          <ac:chgData name="Mateusz Rudzki" userId="aa649b78-41d5-4252-a7cc-9416bf06c744" providerId="ADAL" clId="{E39460C8-93C1-430F-B908-327D60B10093}" dt="2022-05-26T13:47:58.954" v="242" actId="207"/>
          <ac:spMkLst>
            <pc:docMk/>
            <pc:sldMk cId="1717677774" sldId="2073"/>
            <ac:spMk id="2" creationId="{3E6EB4E5-37C7-4F6F-BCC4-13E55E740C44}"/>
          </ac:spMkLst>
        </pc:spChg>
        <pc:spChg chg="mod">
          <ac:chgData name="Mateusz Rudzki" userId="aa649b78-41d5-4252-a7cc-9416bf06c744" providerId="ADAL" clId="{E39460C8-93C1-430F-B908-327D60B10093}" dt="2022-05-26T13:49:03.340" v="252" actId="14100"/>
          <ac:spMkLst>
            <pc:docMk/>
            <pc:sldMk cId="1717677774" sldId="2073"/>
            <ac:spMk id="7" creationId="{AD26A087-3E1B-4C58-8C87-02F1AD5F6C6F}"/>
          </ac:spMkLst>
        </pc:spChg>
        <pc:spChg chg="mod">
          <ac:chgData name="Mateusz Rudzki" userId="aa649b78-41d5-4252-a7cc-9416bf06c744" providerId="ADAL" clId="{E39460C8-93C1-430F-B908-327D60B10093}" dt="2022-05-26T13:49:34.475" v="257" actId="1076"/>
          <ac:spMkLst>
            <pc:docMk/>
            <pc:sldMk cId="1717677774" sldId="2073"/>
            <ac:spMk id="8" creationId="{2C1FE156-3E97-4B7E-BAE7-A5F79E996183}"/>
          </ac:spMkLst>
        </pc:spChg>
        <pc:picChg chg="mod">
          <ac:chgData name="Mateusz Rudzki" userId="aa649b78-41d5-4252-a7cc-9416bf06c744" providerId="ADAL" clId="{E39460C8-93C1-430F-B908-327D60B10093}" dt="2022-05-26T13:49:39.075" v="258" actId="14100"/>
          <ac:picMkLst>
            <pc:docMk/>
            <pc:sldMk cId="1717677774" sldId="2073"/>
            <ac:picMk id="6" creationId="{56037DC8-BA0B-4A9B-A418-C6055C268FE8}"/>
          </ac:picMkLst>
        </pc:picChg>
      </pc:sldChg>
      <pc:sldChg chg="del">
        <pc:chgData name="Mateusz Rudzki" userId="aa649b78-41d5-4252-a7cc-9416bf06c744" providerId="ADAL" clId="{E39460C8-93C1-430F-B908-327D60B10093}" dt="2022-05-27T06:17:22.702" v="399" actId="47"/>
        <pc:sldMkLst>
          <pc:docMk/>
          <pc:sldMk cId="2979040153" sldId="2074"/>
        </pc:sldMkLst>
      </pc:sldChg>
      <pc:sldChg chg="del">
        <pc:chgData name="Mateusz Rudzki" userId="aa649b78-41d5-4252-a7cc-9416bf06c744" providerId="ADAL" clId="{E39460C8-93C1-430F-B908-327D60B10093}" dt="2022-05-27T06:17:22.702" v="399" actId="47"/>
        <pc:sldMkLst>
          <pc:docMk/>
          <pc:sldMk cId="989885012" sldId="2075"/>
        </pc:sldMkLst>
      </pc:sldChg>
      <pc:sldChg chg="modSp add mod modClrScheme chgLayout">
        <pc:chgData name="Mateusz Rudzki" userId="aa649b78-41d5-4252-a7cc-9416bf06c744" providerId="ADAL" clId="{E39460C8-93C1-430F-B908-327D60B10093}" dt="2022-05-26T13:56:34.638" v="339" actId="207"/>
        <pc:sldMkLst>
          <pc:docMk/>
          <pc:sldMk cId="4261178748" sldId="2076"/>
        </pc:sldMkLst>
        <pc:spChg chg="mod ord">
          <ac:chgData name="Mateusz Rudzki" userId="aa649b78-41d5-4252-a7cc-9416bf06c744" providerId="ADAL" clId="{E39460C8-93C1-430F-B908-327D60B10093}" dt="2022-05-26T13:56:04.910" v="332" actId="207"/>
          <ac:spMkLst>
            <pc:docMk/>
            <pc:sldMk cId="4261178748" sldId="2076"/>
            <ac:spMk id="2" creationId="{3E6EB4E5-37C7-4F6F-BCC4-13E55E740C44}"/>
          </ac:spMkLst>
        </pc:spChg>
        <pc:spChg chg="mod">
          <ac:chgData name="Mateusz Rudzki" userId="aa649b78-41d5-4252-a7cc-9416bf06c744" providerId="ADAL" clId="{E39460C8-93C1-430F-B908-327D60B10093}" dt="2022-05-26T13:56:30.447" v="338" actId="207"/>
          <ac:spMkLst>
            <pc:docMk/>
            <pc:sldMk cId="4261178748" sldId="2076"/>
            <ac:spMk id="7" creationId="{AD26A087-3E1B-4C58-8C87-02F1AD5F6C6F}"/>
          </ac:spMkLst>
        </pc:spChg>
        <pc:spChg chg="mod">
          <ac:chgData name="Mateusz Rudzki" userId="aa649b78-41d5-4252-a7cc-9416bf06c744" providerId="ADAL" clId="{E39460C8-93C1-430F-B908-327D60B10093}" dt="2022-05-26T13:56:34.638" v="339" actId="207"/>
          <ac:spMkLst>
            <pc:docMk/>
            <pc:sldMk cId="4261178748" sldId="2076"/>
            <ac:spMk id="8" creationId="{2C1FE156-3E97-4B7E-BAE7-A5F79E996183}"/>
          </ac:spMkLst>
        </pc:spChg>
        <pc:picChg chg="mod">
          <ac:chgData name="Mateusz Rudzki" userId="aa649b78-41d5-4252-a7cc-9416bf06c744" providerId="ADAL" clId="{E39460C8-93C1-430F-B908-327D60B10093}" dt="2022-05-26T13:56:26.827" v="337" actId="14100"/>
          <ac:picMkLst>
            <pc:docMk/>
            <pc:sldMk cId="4261178748" sldId="2076"/>
            <ac:picMk id="9" creationId="{0C1DC38D-7B23-427E-AF34-9262E1C38C12}"/>
          </ac:picMkLst>
        </pc:picChg>
      </pc:sldChg>
      <pc:sldChg chg="addSp delSp modSp add mod modClrScheme chgLayout">
        <pc:chgData name="Mateusz Rudzki" userId="aa649b78-41d5-4252-a7cc-9416bf06c744" providerId="ADAL" clId="{E39460C8-93C1-430F-B908-327D60B10093}" dt="2022-05-26T13:55:02.458" v="320" actId="1076"/>
        <pc:sldMkLst>
          <pc:docMk/>
          <pc:sldMk cId="494010063" sldId="2077"/>
        </pc:sldMkLst>
        <pc:spChg chg="mod ord">
          <ac:chgData name="Mateusz Rudzki" userId="aa649b78-41d5-4252-a7cc-9416bf06c744" providerId="ADAL" clId="{E39460C8-93C1-430F-B908-327D60B10093}" dt="2022-05-26T13:54:01.914" v="304" actId="20577"/>
          <ac:spMkLst>
            <pc:docMk/>
            <pc:sldMk cId="494010063" sldId="2077"/>
            <ac:spMk id="2" creationId="{3E6EB4E5-37C7-4F6F-BCC4-13E55E740C44}"/>
          </ac:spMkLst>
        </pc:spChg>
        <pc:spChg chg="add del mod">
          <ac:chgData name="Mateusz Rudzki" userId="aa649b78-41d5-4252-a7cc-9416bf06c744" providerId="ADAL" clId="{E39460C8-93C1-430F-B908-327D60B10093}" dt="2022-05-26T13:54:53.500" v="314" actId="21"/>
          <ac:spMkLst>
            <pc:docMk/>
            <pc:sldMk cId="494010063" sldId="2077"/>
            <ac:spMk id="5" creationId="{2B4397E4-9B92-CBD7-0FCC-EC296BFA66A2}"/>
          </ac:spMkLst>
        </pc:spChg>
        <pc:spChg chg="add del mod">
          <ac:chgData name="Mateusz Rudzki" userId="aa649b78-41d5-4252-a7cc-9416bf06c744" providerId="ADAL" clId="{E39460C8-93C1-430F-B908-327D60B10093}" dt="2022-05-26T13:55:01.957" v="319"/>
          <ac:spMkLst>
            <pc:docMk/>
            <pc:sldMk cId="494010063" sldId="2077"/>
            <ac:spMk id="7" creationId="{1D7BBE57-7369-68E0-D65F-7289825EA5CE}"/>
          </ac:spMkLst>
        </pc:spChg>
        <pc:spChg chg="mod">
          <ac:chgData name="Mateusz Rudzki" userId="aa649b78-41d5-4252-a7cc-9416bf06c744" providerId="ADAL" clId="{E39460C8-93C1-430F-B908-327D60B10093}" dt="2022-05-26T13:55:02.458" v="320" actId="1076"/>
          <ac:spMkLst>
            <pc:docMk/>
            <pc:sldMk cId="494010063" sldId="2077"/>
            <ac:spMk id="8" creationId="{2C1FE156-3E97-4B7E-BAE7-A5F79E996183}"/>
          </ac:spMkLst>
        </pc:spChg>
        <pc:picChg chg="mod">
          <ac:chgData name="Mateusz Rudzki" userId="aa649b78-41d5-4252-a7cc-9416bf06c744" providerId="ADAL" clId="{E39460C8-93C1-430F-B908-327D60B10093}" dt="2022-05-26T13:54:17.527" v="309" actId="14100"/>
          <ac:picMkLst>
            <pc:docMk/>
            <pc:sldMk cId="494010063" sldId="2077"/>
            <ac:picMk id="6" creationId="{1736EED5-EF1B-4248-AEDE-817028801CEB}"/>
          </ac:picMkLst>
        </pc:picChg>
      </pc:sldChg>
      <pc:sldChg chg="delSp modSp add mod modClrScheme chgLayout">
        <pc:chgData name="Mateusz Rudzki" userId="aa649b78-41d5-4252-a7cc-9416bf06c744" providerId="ADAL" clId="{E39460C8-93C1-430F-B908-327D60B10093}" dt="2022-05-27T06:16:20.734" v="390" actId="113"/>
        <pc:sldMkLst>
          <pc:docMk/>
          <pc:sldMk cId="3578738275" sldId="2076138843"/>
        </pc:sldMkLst>
        <pc:spChg chg="mod">
          <ac:chgData name="Mateusz Rudzki" userId="aa649b78-41d5-4252-a7cc-9416bf06c744" providerId="ADAL" clId="{E39460C8-93C1-430F-B908-327D60B10093}" dt="2022-05-27T06:16:06.389" v="384" actId="113"/>
          <ac:spMkLst>
            <pc:docMk/>
            <pc:sldMk cId="3578738275" sldId="2076138843"/>
            <ac:spMk id="11" creationId="{706503B1-260E-47FF-9314-CBDB785B4760}"/>
          </ac:spMkLst>
        </pc:spChg>
        <pc:spChg chg="mod">
          <ac:chgData name="Mateusz Rudzki" userId="aa649b78-41d5-4252-a7cc-9416bf06c744" providerId="ADAL" clId="{E39460C8-93C1-430F-B908-327D60B10093}" dt="2022-05-27T06:15:00.808" v="374" actId="113"/>
          <ac:spMkLst>
            <pc:docMk/>
            <pc:sldMk cId="3578738275" sldId="2076138843"/>
            <ac:spMk id="13" creationId="{C326BB86-C5A2-4AAA-9E93-CB30B1D8E906}"/>
          </ac:spMkLst>
        </pc:spChg>
        <pc:spChg chg="mod">
          <ac:chgData name="Mateusz Rudzki" userId="aa649b78-41d5-4252-a7cc-9416bf06c744" providerId="ADAL" clId="{E39460C8-93C1-430F-B908-327D60B10093}" dt="2022-05-27T06:16:08.423" v="385" actId="113"/>
          <ac:spMkLst>
            <pc:docMk/>
            <pc:sldMk cId="3578738275" sldId="2076138843"/>
            <ac:spMk id="16" creationId="{0038F529-620C-469E-97DD-9FBAF531FA21}"/>
          </ac:spMkLst>
        </pc:spChg>
        <pc:spChg chg="mod">
          <ac:chgData name="Mateusz Rudzki" userId="aa649b78-41d5-4252-a7cc-9416bf06c744" providerId="ADAL" clId="{E39460C8-93C1-430F-B908-327D60B10093}" dt="2022-05-27T06:16:20.734" v="390" actId="113"/>
          <ac:spMkLst>
            <pc:docMk/>
            <pc:sldMk cId="3578738275" sldId="2076138843"/>
            <ac:spMk id="17" creationId="{B7393694-07AD-492B-A3B2-D0BA6671E4C8}"/>
          </ac:spMkLst>
        </pc:spChg>
        <pc:spChg chg="mod">
          <ac:chgData name="Mateusz Rudzki" userId="aa649b78-41d5-4252-a7cc-9416bf06c744" providerId="ADAL" clId="{E39460C8-93C1-430F-B908-327D60B10093}" dt="2022-05-27T06:16:10.954" v="386" actId="113"/>
          <ac:spMkLst>
            <pc:docMk/>
            <pc:sldMk cId="3578738275" sldId="2076138843"/>
            <ac:spMk id="18" creationId="{7F48FF59-390D-4D8D-994A-41090F7FA299}"/>
          </ac:spMkLst>
        </pc:spChg>
        <pc:spChg chg="mod">
          <ac:chgData name="Mateusz Rudzki" userId="aa649b78-41d5-4252-a7cc-9416bf06c744" providerId="ADAL" clId="{E39460C8-93C1-430F-B908-327D60B10093}" dt="2022-05-27T06:16:15.670" v="388" actId="113"/>
          <ac:spMkLst>
            <pc:docMk/>
            <pc:sldMk cId="3578738275" sldId="2076138843"/>
            <ac:spMk id="19" creationId="{A8DE2A2A-568B-45D5-9D1F-9144EFA9ADE3}"/>
          </ac:spMkLst>
        </pc:spChg>
        <pc:spChg chg="mod">
          <ac:chgData name="Mateusz Rudzki" userId="aa649b78-41d5-4252-a7cc-9416bf06c744" providerId="ADAL" clId="{E39460C8-93C1-430F-B908-327D60B10093}" dt="2022-05-27T06:16:13.446" v="387" actId="113"/>
          <ac:spMkLst>
            <pc:docMk/>
            <pc:sldMk cId="3578738275" sldId="2076138843"/>
            <ac:spMk id="20" creationId="{F5444A60-8DE5-49AE-ADCD-493CE968F25C}"/>
          </ac:spMkLst>
        </pc:spChg>
        <pc:picChg chg="del">
          <ac:chgData name="Mateusz Rudzki" userId="aa649b78-41d5-4252-a7cc-9416bf06c744" providerId="ADAL" clId="{E39460C8-93C1-430F-B908-327D60B10093}" dt="2022-05-27T06:15:09.708" v="375" actId="478"/>
          <ac:picMkLst>
            <pc:docMk/>
            <pc:sldMk cId="3578738275" sldId="2076138843"/>
            <ac:picMk id="2" creationId="{B5B551C6-4304-4B82-B4DA-FBD1219FDC39}"/>
          </ac:picMkLst>
        </pc:picChg>
        <pc:picChg chg="del">
          <ac:chgData name="Mateusz Rudzki" userId="aa649b78-41d5-4252-a7cc-9416bf06c744" providerId="ADAL" clId="{E39460C8-93C1-430F-B908-327D60B10093}" dt="2022-05-27T06:14:38.363" v="367" actId="478"/>
          <ac:picMkLst>
            <pc:docMk/>
            <pc:sldMk cId="3578738275" sldId="2076138843"/>
            <ac:picMk id="7" creationId="{850DD2D1-CF25-4968-9E64-3D5E0B6AB41B}"/>
          </ac:picMkLst>
        </pc:picChg>
        <pc:picChg chg="del">
          <ac:chgData name="Mateusz Rudzki" userId="aa649b78-41d5-4252-a7cc-9416bf06c744" providerId="ADAL" clId="{E39460C8-93C1-430F-B908-327D60B10093}" dt="2022-05-27T06:14:40.066" v="368" actId="478"/>
          <ac:picMkLst>
            <pc:docMk/>
            <pc:sldMk cId="3578738275" sldId="2076138843"/>
            <ac:picMk id="8" creationId="{F76CA32F-3A53-42DA-837D-45E6EA28E2D6}"/>
          </ac:picMkLst>
        </pc:picChg>
      </pc:sldChg>
      <pc:sldChg chg="del">
        <pc:chgData name="Mateusz Rudzki" userId="aa649b78-41d5-4252-a7cc-9416bf06c744" providerId="ADAL" clId="{E39460C8-93C1-430F-B908-327D60B10093}" dt="2022-05-27T06:17:22.702" v="399" actId="47"/>
        <pc:sldMkLst>
          <pc:docMk/>
          <pc:sldMk cId="944945336" sldId="2076138856"/>
        </pc:sldMkLst>
      </pc:sldChg>
      <pc:sldChg chg="modSp mod">
        <pc:chgData name="Mateusz Rudzki" userId="aa649b78-41d5-4252-a7cc-9416bf06c744" providerId="ADAL" clId="{E39460C8-93C1-430F-B908-327D60B10093}" dt="2022-05-26T13:31:20.897" v="54" actId="113"/>
        <pc:sldMkLst>
          <pc:docMk/>
          <pc:sldMk cId="3984567428" sldId="2145705784"/>
        </pc:sldMkLst>
        <pc:spChg chg="mod">
          <ac:chgData name="Mateusz Rudzki" userId="aa649b78-41d5-4252-a7cc-9416bf06c744" providerId="ADAL" clId="{E39460C8-93C1-430F-B908-327D60B10093}" dt="2022-05-26T13:31:20.897" v="54" actId="113"/>
          <ac:spMkLst>
            <pc:docMk/>
            <pc:sldMk cId="3984567428" sldId="2145705784"/>
            <ac:spMk id="2" creationId="{0736F655-D1CE-755E-9926-4FACB8E5F28E}"/>
          </ac:spMkLst>
        </pc:spChg>
      </pc:sldChg>
      <pc:sldChg chg="del">
        <pc:chgData name="Mateusz Rudzki" userId="aa649b78-41d5-4252-a7cc-9416bf06c744" providerId="ADAL" clId="{E39460C8-93C1-430F-B908-327D60B10093}" dt="2022-05-26T13:23:14.650" v="0" actId="47"/>
        <pc:sldMkLst>
          <pc:docMk/>
          <pc:sldMk cId="2903289785" sldId="2146846855"/>
        </pc:sldMkLst>
      </pc:sldChg>
      <pc:sldChg chg="delSp modSp add mod modClrScheme chgLayout">
        <pc:chgData name="Mateusz Rudzki" userId="aa649b78-41d5-4252-a7cc-9416bf06c744" providerId="ADAL" clId="{E39460C8-93C1-430F-B908-327D60B10093}" dt="2022-05-27T06:16:39.471" v="396" actId="113"/>
        <pc:sldMkLst>
          <pc:docMk/>
          <pc:sldMk cId="3932901314" sldId="2146846857"/>
        </pc:sldMkLst>
        <pc:spChg chg="mod">
          <ac:chgData name="Mateusz Rudzki" userId="aa649b78-41d5-4252-a7cc-9416bf06c744" providerId="ADAL" clId="{E39460C8-93C1-430F-B908-327D60B10093}" dt="2022-05-27T06:16:28.418" v="391" actId="113"/>
          <ac:spMkLst>
            <pc:docMk/>
            <pc:sldMk cId="3932901314" sldId="2146846857"/>
            <ac:spMk id="11" creationId="{706503B1-260E-47FF-9314-CBDB785B4760}"/>
          </ac:spMkLst>
        </pc:spChg>
        <pc:spChg chg="mod">
          <ac:chgData name="Mateusz Rudzki" userId="aa649b78-41d5-4252-a7cc-9416bf06c744" providerId="ADAL" clId="{E39460C8-93C1-430F-B908-327D60B10093}" dt="2022-05-27T06:12:10.752" v="364" actId="1076"/>
          <ac:spMkLst>
            <pc:docMk/>
            <pc:sldMk cId="3932901314" sldId="2146846857"/>
            <ac:spMk id="13" creationId="{C326BB86-C5A2-4AAA-9E93-CB30B1D8E906}"/>
          </ac:spMkLst>
        </pc:spChg>
        <pc:spChg chg="mod">
          <ac:chgData name="Mateusz Rudzki" userId="aa649b78-41d5-4252-a7cc-9416bf06c744" providerId="ADAL" clId="{E39460C8-93C1-430F-B908-327D60B10093}" dt="2022-05-27T06:16:30.335" v="392" actId="113"/>
          <ac:spMkLst>
            <pc:docMk/>
            <pc:sldMk cId="3932901314" sldId="2146846857"/>
            <ac:spMk id="16" creationId="{0038F529-620C-469E-97DD-9FBAF531FA21}"/>
          </ac:spMkLst>
        </pc:spChg>
        <pc:spChg chg="mod">
          <ac:chgData name="Mateusz Rudzki" userId="aa649b78-41d5-4252-a7cc-9416bf06c744" providerId="ADAL" clId="{E39460C8-93C1-430F-B908-327D60B10093}" dt="2022-05-27T06:16:39.471" v="396" actId="113"/>
          <ac:spMkLst>
            <pc:docMk/>
            <pc:sldMk cId="3932901314" sldId="2146846857"/>
            <ac:spMk id="17" creationId="{B7393694-07AD-492B-A3B2-D0BA6671E4C8}"/>
          </ac:spMkLst>
        </pc:spChg>
        <pc:spChg chg="mod">
          <ac:chgData name="Mateusz Rudzki" userId="aa649b78-41d5-4252-a7cc-9416bf06c744" providerId="ADAL" clId="{E39460C8-93C1-430F-B908-327D60B10093}" dt="2022-05-27T06:16:33.096" v="393" actId="113"/>
          <ac:spMkLst>
            <pc:docMk/>
            <pc:sldMk cId="3932901314" sldId="2146846857"/>
            <ac:spMk id="18" creationId="{7F48FF59-390D-4D8D-994A-41090F7FA299}"/>
          </ac:spMkLst>
        </pc:spChg>
        <pc:spChg chg="mod">
          <ac:chgData name="Mateusz Rudzki" userId="aa649b78-41d5-4252-a7cc-9416bf06c744" providerId="ADAL" clId="{E39460C8-93C1-430F-B908-327D60B10093}" dt="2022-05-27T06:16:37.376" v="395" actId="113"/>
          <ac:spMkLst>
            <pc:docMk/>
            <pc:sldMk cId="3932901314" sldId="2146846857"/>
            <ac:spMk id="19" creationId="{A8DE2A2A-568B-45D5-9D1F-9144EFA9ADE3}"/>
          </ac:spMkLst>
        </pc:spChg>
        <pc:spChg chg="mod">
          <ac:chgData name="Mateusz Rudzki" userId="aa649b78-41d5-4252-a7cc-9416bf06c744" providerId="ADAL" clId="{E39460C8-93C1-430F-B908-327D60B10093}" dt="2022-05-27T06:16:35.550" v="394" actId="113"/>
          <ac:spMkLst>
            <pc:docMk/>
            <pc:sldMk cId="3932901314" sldId="2146846857"/>
            <ac:spMk id="20" creationId="{F5444A60-8DE5-49AE-ADCD-493CE968F25C}"/>
          </ac:spMkLst>
        </pc:spChg>
        <pc:picChg chg="del">
          <ac:chgData name="Mateusz Rudzki" userId="aa649b78-41d5-4252-a7cc-9416bf06c744" providerId="ADAL" clId="{E39460C8-93C1-430F-B908-327D60B10093}" dt="2022-05-27T06:11:20.340" v="353" actId="478"/>
          <ac:picMkLst>
            <pc:docMk/>
            <pc:sldMk cId="3932901314" sldId="2146846857"/>
            <ac:picMk id="2" creationId="{B5B551C6-4304-4B82-B4DA-FBD1219FDC39}"/>
          </ac:picMkLst>
        </pc:picChg>
        <pc:picChg chg="del">
          <ac:chgData name="Mateusz Rudzki" userId="aa649b78-41d5-4252-a7cc-9416bf06c744" providerId="ADAL" clId="{E39460C8-93C1-430F-B908-327D60B10093}" dt="2022-05-27T06:11:16.096" v="351" actId="478"/>
          <ac:picMkLst>
            <pc:docMk/>
            <pc:sldMk cId="3932901314" sldId="2146846857"/>
            <ac:picMk id="7" creationId="{850DD2D1-CF25-4968-9E64-3D5E0B6AB41B}"/>
          </ac:picMkLst>
        </pc:picChg>
        <pc:picChg chg="del">
          <ac:chgData name="Mateusz Rudzki" userId="aa649b78-41d5-4252-a7cc-9416bf06c744" providerId="ADAL" clId="{E39460C8-93C1-430F-B908-327D60B10093}" dt="2022-05-27T06:11:18.301" v="352" actId="478"/>
          <ac:picMkLst>
            <pc:docMk/>
            <pc:sldMk cId="3932901314" sldId="2146846857"/>
            <ac:picMk id="8" creationId="{F76CA32F-3A53-42DA-837D-45E6EA28E2D6}"/>
          </ac:picMkLst>
        </pc:picChg>
      </pc:sldChg>
      <pc:sldChg chg="modSp mod">
        <pc:chgData name="Mateusz Rudzki" userId="aa649b78-41d5-4252-a7cc-9416bf06c744" providerId="ADAL" clId="{E39460C8-93C1-430F-B908-327D60B10093}" dt="2022-05-26T13:25:35.958" v="45" actId="20577"/>
        <pc:sldMkLst>
          <pc:docMk/>
          <pc:sldMk cId="3290954141" sldId="2146846860"/>
        </pc:sldMkLst>
        <pc:spChg chg="mod">
          <ac:chgData name="Mateusz Rudzki" userId="aa649b78-41d5-4252-a7cc-9416bf06c744" providerId="ADAL" clId="{E39460C8-93C1-430F-B908-327D60B10093}" dt="2022-05-26T13:25:35.958" v="45" actId="20577"/>
          <ac:spMkLst>
            <pc:docMk/>
            <pc:sldMk cId="3290954141" sldId="2146846860"/>
            <ac:spMk id="2" creationId="{7403F7C0-618F-D321-9081-D10765C32EC2}"/>
          </ac:spMkLst>
        </pc:spChg>
      </pc:sldChg>
      <pc:sldChg chg="modSp mod">
        <pc:chgData name="Mateusz Rudzki" userId="aa649b78-41d5-4252-a7cc-9416bf06c744" providerId="ADAL" clId="{E39460C8-93C1-430F-B908-327D60B10093}" dt="2022-05-26T13:34:46.222" v="90"/>
        <pc:sldMkLst>
          <pc:docMk/>
          <pc:sldMk cId="2676760711" sldId="2146846861"/>
        </pc:sldMkLst>
        <pc:spChg chg="mod">
          <ac:chgData name="Mateusz Rudzki" userId="aa649b78-41d5-4252-a7cc-9416bf06c744" providerId="ADAL" clId="{E39460C8-93C1-430F-B908-327D60B10093}" dt="2022-05-26T13:34:46.222" v="90"/>
          <ac:spMkLst>
            <pc:docMk/>
            <pc:sldMk cId="2676760711" sldId="2146846861"/>
            <ac:spMk id="2" creationId="{71884D50-B1ED-BA4C-255F-7CB2B0C1332A}"/>
          </ac:spMkLst>
        </pc:spChg>
      </pc:sldChg>
      <pc:sldChg chg="del">
        <pc:chgData name="Mateusz Rudzki" userId="aa649b78-41d5-4252-a7cc-9416bf06c744" providerId="ADAL" clId="{E39460C8-93C1-430F-B908-327D60B10093}" dt="2022-05-27T06:17:22.702" v="399" actId="47"/>
        <pc:sldMkLst>
          <pc:docMk/>
          <pc:sldMk cId="140671224" sldId="2146846862"/>
        </pc:sldMkLst>
      </pc:sldChg>
      <pc:sldChg chg="del">
        <pc:chgData name="Mateusz Rudzki" userId="aa649b78-41d5-4252-a7cc-9416bf06c744" providerId="ADAL" clId="{E39460C8-93C1-430F-B908-327D60B10093}" dt="2022-05-27T06:17:22.702" v="399" actId="47"/>
        <pc:sldMkLst>
          <pc:docMk/>
          <pc:sldMk cId="3526974925" sldId="2146846863"/>
        </pc:sldMkLst>
      </pc:sldChg>
      <pc:sldChg chg="del">
        <pc:chgData name="Mateusz Rudzki" userId="aa649b78-41d5-4252-a7cc-9416bf06c744" providerId="ADAL" clId="{E39460C8-93C1-430F-B908-327D60B10093}" dt="2022-05-27T06:17:22.702" v="399" actId="47"/>
        <pc:sldMkLst>
          <pc:docMk/>
          <pc:sldMk cId="708901936" sldId="2146846864"/>
        </pc:sldMkLst>
      </pc:sldChg>
      <pc:sldChg chg="addSp delSp modSp new del">
        <pc:chgData name="Mateusz Rudzki" userId="aa649b78-41d5-4252-a7cc-9416bf06c744" providerId="ADAL" clId="{E39460C8-93C1-430F-B908-327D60B10093}" dt="2022-05-26T13:23:28.133" v="7" actId="680"/>
        <pc:sldMkLst>
          <pc:docMk/>
          <pc:sldMk cId="1684686813" sldId="2146846866"/>
        </pc:sldMkLst>
        <pc:spChg chg="add del mod">
          <ac:chgData name="Mateusz Rudzki" userId="aa649b78-41d5-4252-a7cc-9416bf06c744" providerId="ADAL" clId="{E39460C8-93C1-430F-B908-327D60B10093}" dt="2022-05-26T13:23:27.200" v="6"/>
          <ac:spMkLst>
            <pc:docMk/>
            <pc:sldMk cId="1684686813" sldId="2146846866"/>
            <ac:spMk id="2" creationId="{63DE09A3-33B1-8491-5D3E-723C417BE5A6}"/>
          </ac:spMkLst>
        </pc:spChg>
        <pc:spChg chg="add del mod">
          <ac:chgData name="Mateusz Rudzki" userId="aa649b78-41d5-4252-a7cc-9416bf06c744" providerId="ADAL" clId="{E39460C8-93C1-430F-B908-327D60B10093}" dt="2022-05-26T13:23:27.200" v="6"/>
          <ac:spMkLst>
            <pc:docMk/>
            <pc:sldMk cId="1684686813" sldId="2146846866"/>
            <ac:spMk id="3" creationId="{DDFCA9DD-1671-33CE-24FC-9CA45028C077}"/>
          </ac:spMkLst>
        </pc:spChg>
        <pc:spChg chg="add del mod">
          <ac:chgData name="Mateusz Rudzki" userId="aa649b78-41d5-4252-a7cc-9416bf06c744" providerId="ADAL" clId="{E39460C8-93C1-430F-B908-327D60B10093}" dt="2022-05-26T13:23:27.200" v="6"/>
          <ac:spMkLst>
            <pc:docMk/>
            <pc:sldMk cId="1684686813" sldId="2146846866"/>
            <ac:spMk id="4" creationId="{26E34AE6-1269-CB9C-401E-8C55A337F486}"/>
          </ac:spMkLst>
        </pc:spChg>
        <pc:spChg chg="add del mod">
          <ac:chgData name="Mateusz Rudzki" userId="aa649b78-41d5-4252-a7cc-9416bf06c744" providerId="ADAL" clId="{E39460C8-93C1-430F-B908-327D60B10093}" dt="2022-05-26T13:23:27.200" v="6"/>
          <ac:spMkLst>
            <pc:docMk/>
            <pc:sldMk cId="1684686813" sldId="2146846866"/>
            <ac:spMk id="8" creationId="{8CEA1160-2424-979F-5C73-2E45DFFC346F}"/>
          </ac:spMkLst>
        </pc:spChg>
        <pc:spChg chg="add del mod">
          <ac:chgData name="Mateusz Rudzki" userId="aa649b78-41d5-4252-a7cc-9416bf06c744" providerId="ADAL" clId="{E39460C8-93C1-430F-B908-327D60B10093}" dt="2022-05-26T13:23:27.200" v="6"/>
          <ac:spMkLst>
            <pc:docMk/>
            <pc:sldMk cId="1684686813" sldId="2146846866"/>
            <ac:spMk id="9" creationId="{05326DBB-98AA-BDB1-CD8B-FE1987EED72E}"/>
          </ac:spMkLst>
        </pc:spChg>
        <pc:spChg chg="add del mod">
          <ac:chgData name="Mateusz Rudzki" userId="aa649b78-41d5-4252-a7cc-9416bf06c744" providerId="ADAL" clId="{E39460C8-93C1-430F-B908-327D60B10093}" dt="2022-05-26T13:23:27.200" v="6"/>
          <ac:spMkLst>
            <pc:docMk/>
            <pc:sldMk cId="1684686813" sldId="2146846866"/>
            <ac:spMk id="10" creationId="{0F83FA7F-14A8-4F89-3154-39C8B712B7E7}"/>
          </ac:spMkLst>
        </pc:spChg>
        <pc:spChg chg="add del mod">
          <ac:chgData name="Mateusz Rudzki" userId="aa649b78-41d5-4252-a7cc-9416bf06c744" providerId="ADAL" clId="{E39460C8-93C1-430F-B908-327D60B10093}" dt="2022-05-26T13:23:27.200" v="6"/>
          <ac:spMkLst>
            <pc:docMk/>
            <pc:sldMk cId="1684686813" sldId="2146846866"/>
            <ac:spMk id="11" creationId="{989A736A-DD8C-9590-A110-C4208B553D44}"/>
          </ac:spMkLst>
        </pc:spChg>
        <pc:spChg chg="add del mod">
          <ac:chgData name="Mateusz Rudzki" userId="aa649b78-41d5-4252-a7cc-9416bf06c744" providerId="ADAL" clId="{E39460C8-93C1-430F-B908-327D60B10093}" dt="2022-05-26T13:23:27.200" v="6"/>
          <ac:spMkLst>
            <pc:docMk/>
            <pc:sldMk cId="1684686813" sldId="2146846866"/>
            <ac:spMk id="12" creationId="{A26C40B5-5F54-0284-B06E-903A2E417C83}"/>
          </ac:spMkLst>
        </pc:spChg>
        <pc:spChg chg="add del mod">
          <ac:chgData name="Mateusz Rudzki" userId="aa649b78-41d5-4252-a7cc-9416bf06c744" providerId="ADAL" clId="{E39460C8-93C1-430F-B908-327D60B10093}" dt="2022-05-26T13:23:27.200" v="6"/>
          <ac:spMkLst>
            <pc:docMk/>
            <pc:sldMk cId="1684686813" sldId="2146846866"/>
            <ac:spMk id="13" creationId="{9B54188C-74C2-E84E-DE22-0CDDA3092B1C}"/>
          </ac:spMkLst>
        </pc:spChg>
        <pc:spChg chg="add del mod">
          <ac:chgData name="Mateusz Rudzki" userId="aa649b78-41d5-4252-a7cc-9416bf06c744" providerId="ADAL" clId="{E39460C8-93C1-430F-B908-327D60B10093}" dt="2022-05-26T13:23:27.200" v="6"/>
          <ac:spMkLst>
            <pc:docMk/>
            <pc:sldMk cId="1684686813" sldId="2146846866"/>
            <ac:spMk id="14" creationId="{0189D393-BD11-6A93-A4DE-ABC6959AA46C}"/>
          </ac:spMkLst>
        </pc:spChg>
        <pc:spChg chg="add del mod">
          <ac:chgData name="Mateusz Rudzki" userId="aa649b78-41d5-4252-a7cc-9416bf06c744" providerId="ADAL" clId="{E39460C8-93C1-430F-B908-327D60B10093}" dt="2022-05-26T13:23:27.200" v="6"/>
          <ac:spMkLst>
            <pc:docMk/>
            <pc:sldMk cId="1684686813" sldId="2146846866"/>
            <ac:spMk id="15" creationId="{E1F8ECAA-109B-7EC0-846F-0BE1F5EFF242}"/>
          </ac:spMkLst>
        </pc:spChg>
        <pc:spChg chg="add del mod">
          <ac:chgData name="Mateusz Rudzki" userId="aa649b78-41d5-4252-a7cc-9416bf06c744" providerId="ADAL" clId="{E39460C8-93C1-430F-B908-327D60B10093}" dt="2022-05-26T13:23:27.200" v="6"/>
          <ac:spMkLst>
            <pc:docMk/>
            <pc:sldMk cId="1684686813" sldId="2146846866"/>
            <ac:spMk id="16" creationId="{0873562A-B688-D008-20A6-66E8B7BA6465}"/>
          </ac:spMkLst>
        </pc:spChg>
        <pc:picChg chg="add del mod">
          <ac:chgData name="Mateusz Rudzki" userId="aa649b78-41d5-4252-a7cc-9416bf06c744" providerId="ADAL" clId="{E39460C8-93C1-430F-B908-327D60B10093}" dt="2022-05-26T13:23:27.200" v="6"/>
          <ac:picMkLst>
            <pc:docMk/>
            <pc:sldMk cId="1684686813" sldId="2146846866"/>
            <ac:picMk id="5" creationId="{0AD65CAB-110C-244D-66F2-ED7B76F30418}"/>
          </ac:picMkLst>
        </pc:picChg>
        <pc:picChg chg="add del mod">
          <ac:chgData name="Mateusz Rudzki" userId="aa649b78-41d5-4252-a7cc-9416bf06c744" providerId="ADAL" clId="{E39460C8-93C1-430F-B908-327D60B10093}" dt="2022-05-26T13:23:27.200" v="6"/>
          <ac:picMkLst>
            <pc:docMk/>
            <pc:sldMk cId="1684686813" sldId="2146846866"/>
            <ac:picMk id="6" creationId="{BED17ED7-283D-1B6A-05D3-AB21A32F180B}"/>
          </ac:picMkLst>
        </pc:picChg>
        <pc:picChg chg="add del mod">
          <ac:chgData name="Mateusz Rudzki" userId="aa649b78-41d5-4252-a7cc-9416bf06c744" providerId="ADAL" clId="{E39460C8-93C1-430F-B908-327D60B10093}" dt="2022-05-26T13:23:27.200" v="6"/>
          <ac:picMkLst>
            <pc:docMk/>
            <pc:sldMk cId="1684686813" sldId="2146846866"/>
            <ac:picMk id="7" creationId="{98FEC476-0B52-2378-96AC-77DE53C1B5CE}"/>
          </ac:picMkLst>
        </pc:picChg>
      </pc:sldChg>
      <pc:sldChg chg="modSp new mod">
        <pc:chgData name="Mateusz Rudzki" userId="aa649b78-41d5-4252-a7cc-9416bf06c744" providerId="ADAL" clId="{E39460C8-93C1-430F-B908-327D60B10093}" dt="2022-05-26T13:35:06.681" v="95" actId="20577"/>
        <pc:sldMkLst>
          <pc:docMk/>
          <pc:sldMk cId="2068164863" sldId="2146846866"/>
        </pc:sldMkLst>
        <pc:spChg chg="mod">
          <ac:chgData name="Mateusz Rudzki" userId="aa649b78-41d5-4252-a7cc-9416bf06c744" providerId="ADAL" clId="{E39460C8-93C1-430F-B908-327D60B10093}" dt="2022-05-26T13:35:06.681" v="95" actId="20577"/>
          <ac:spMkLst>
            <pc:docMk/>
            <pc:sldMk cId="2068164863" sldId="2146846866"/>
            <ac:spMk id="2" creationId="{AF828355-3AB6-AF75-03E6-DE64BA108ABE}"/>
          </ac:spMkLst>
        </pc:spChg>
      </pc:sldChg>
      <pc:sldChg chg="addSp delSp modSp add mod modAnim">
        <pc:chgData name="Mateusz Rudzki" userId="aa649b78-41d5-4252-a7cc-9416bf06c744" providerId="ADAL" clId="{E39460C8-93C1-430F-B908-327D60B10093}" dt="2022-05-26T13:37:48.335" v="134" actId="20577"/>
        <pc:sldMkLst>
          <pc:docMk/>
          <pc:sldMk cId="4205655352" sldId="2146846867"/>
        </pc:sldMkLst>
        <pc:spChg chg="mod">
          <ac:chgData name="Mateusz Rudzki" userId="aa649b78-41d5-4252-a7cc-9416bf06c744" providerId="ADAL" clId="{E39460C8-93C1-430F-B908-327D60B10093}" dt="2022-05-26T13:37:48.335" v="134" actId="20577"/>
          <ac:spMkLst>
            <pc:docMk/>
            <pc:sldMk cId="4205655352" sldId="2146846867"/>
            <ac:spMk id="2" creationId="{00000000-0000-0000-0000-000000000000}"/>
          </ac:spMkLst>
        </pc:spChg>
        <pc:spChg chg="mod">
          <ac:chgData name="Mateusz Rudzki" userId="aa649b78-41d5-4252-a7cc-9416bf06c744" providerId="ADAL" clId="{E39460C8-93C1-430F-B908-327D60B10093}" dt="2022-05-26T13:36:53.413" v="121" actId="14100"/>
          <ac:spMkLst>
            <pc:docMk/>
            <pc:sldMk cId="4205655352" sldId="2146846867"/>
            <ac:spMk id="9" creationId="{FC295F90-250D-4D04-9053-D338CABF663C}"/>
          </ac:spMkLst>
        </pc:spChg>
        <pc:spChg chg="mod">
          <ac:chgData name="Mateusz Rudzki" userId="aa649b78-41d5-4252-a7cc-9416bf06c744" providerId="ADAL" clId="{E39460C8-93C1-430F-B908-327D60B10093}" dt="2022-05-26T13:36:19.593" v="111" actId="14100"/>
          <ac:spMkLst>
            <pc:docMk/>
            <pc:sldMk cId="4205655352" sldId="2146846867"/>
            <ac:spMk id="16" creationId="{00000000-0000-0000-0000-000000000000}"/>
          </ac:spMkLst>
        </pc:spChg>
        <pc:picChg chg="add mod">
          <ac:chgData name="Mateusz Rudzki" userId="aa649b78-41d5-4252-a7cc-9416bf06c744" providerId="ADAL" clId="{E39460C8-93C1-430F-B908-327D60B10093}" dt="2022-05-26T13:36:37.129" v="119" actId="14100"/>
          <ac:picMkLst>
            <pc:docMk/>
            <pc:sldMk cId="4205655352" sldId="2146846867"/>
            <ac:picMk id="6" creationId="{E677E80D-FA1D-F00A-A86F-18D50B3E23AF}"/>
          </ac:picMkLst>
        </pc:picChg>
        <pc:picChg chg="del mod">
          <ac:chgData name="Mateusz Rudzki" userId="aa649b78-41d5-4252-a7cc-9416bf06c744" providerId="ADAL" clId="{E39460C8-93C1-430F-B908-327D60B10093}" dt="2022-05-26T13:36:24.327" v="113" actId="478"/>
          <ac:picMkLst>
            <pc:docMk/>
            <pc:sldMk cId="4205655352" sldId="2146846867"/>
            <ac:picMk id="8" creationId="{ABBA6D41-1304-4BF3-ADE4-695C57D302C8}"/>
          </ac:picMkLst>
        </pc:picChg>
      </pc:sldChg>
      <pc:sldChg chg="modSp add mod">
        <pc:chgData name="Mateusz Rudzki" userId="aa649b78-41d5-4252-a7cc-9416bf06c744" providerId="ADAL" clId="{E39460C8-93C1-430F-B908-327D60B10093}" dt="2022-05-26T13:38:39.874" v="136"/>
        <pc:sldMkLst>
          <pc:docMk/>
          <pc:sldMk cId="136376825" sldId="2146846868"/>
        </pc:sldMkLst>
        <pc:spChg chg="mod">
          <ac:chgData name="Mateusz Rudzki" userId="aa649b78-41d5-4252-a7cc-9416bf06c744" providerId="ADAL" clId="{E39460C8-93C1-430F-B908-327D60B10093}" dt="2022-05-26T13:38:39.874" v="136"/>
          <ac:spMkLst>
            <pc:docMk/>
            <pc:sldMk cId="136376825" sldId="2146846868"/>
            <ac:spMk id="2" creationId="{71884D50-B1ED-BA4C-255F-7CB2B0C1332A}"/>
          </ac:spMkLst>
        </pc:spChg>
      </pc:sldChg>
      <pc:sldChg chg="modSp add mod">
        <pc:chgData name="Mateusz Rudzki" userId="aa649b78-41d5-4252-a7cc-9416bf06c744" providerId="ADAL" clId="{E39460C8-93C1-430F-B908-327D60B10093}" dt="2022-05-26T13:38:56.627" v="141" actId="20577"/>
        <pc:sldMkLst>
          <pc:docMk/>
          <pc:sldMk cId="2172157050" sldId="2146846869"/>
        </pc:sldMkLst>
        <pc:spChg chg="mod">
          <ac:chgData name="Mateusz Rudzki" userId="aa649b78-41d5-4252-a7cc-9416bf06c744" providerId="ADAL" clId="{E39460C8-93C1-430F-B908-327D60B10093}" dt="2022-05-26T13:38:56.627" v="141" actId="20577"/>
          <ac:spMkLst>
            <pc:docMk/>
            <pc:sldMk cId="2172157050" sldId="2146846869"/>
            <ac:spMk id="2" creationId="{AF828355-3AB6-AF75-03E6-DE64BA108ABE}"/>
          </ac:spMkLst>
        </pc:spChg>
      </pc:sldChg>
      <pc:sldChg chg="addSp delSp modSp add mod">
        <pc:chgData name="Mateusz Rudzki" userId="aa649b78-41d5-4252-a7cc-9416bf06c744" providerId="ADAL" clId="{E39460C8-93C1-430F-B908-327D60B10093}" dt="2022-05-26T13:41:28.522" v="173" actId="113"/>
        <pc:sldMkLst>
          <pc:docMk/>
          <pc:sldMk cId="1830388733" sldId="2146846870"/>
        </pc:sldMkLst>
        <pc:spChg chg="mod">
          <ac:chgData name="Mateusz Rudzki" userId="aa649b78-41d5-4252-a7cc-9416bf06c744" providerId="ADAL" clId="{E39460C8-93C1-430F-B908-327D60B10093}" dt="2022-05-26T13:41:28.522" v="173" actId="113"/>
          <ac:spMkLst>
            <pc:docMk/>
            <pc:sldMk cId="1830388733" sldId="2146846870"/>
            <ac:spMk id="2" creationId="{00000000-0000-0000-0000-000000000000}"/>
          </ac:spMkLst>
        </pc:spChg>
        <pc:spChg chg="mod">
          <ac:chgData name="Mateusz Rudzki" userId="aa649b78-41d5-4252-a7cc-9416bf06c744" providerId="ADAL" clId="{E39460C8-93C1-430F-B908-327D60B10093}" dt="2022-05-26T13:40:31.792" v="163" actId="1076"/>
          <ac:spMkLst>
            <pc:docMk/>
            <pc:sldMk cId="1830388733" sldId="2146846870"/>
            <ac:spMk id="9" creationId="{FC295F90-250D-4D04-9053-D338CABF663C}"/>
          </ac:spMkLst>
        </pc:spChg>
        <pc:spChg chg="mod">
          <ac:chgData name="Mateusz Rudzki" userId="aa649b78-41d5-4252-a7cc-9416bf06c744" providerId="ADAL" clId="{E39460C8-93C1-430F-B908-327D60B10093}" dt="2022-05-26T13:40:43.655" v="165" actId="14100"/>
          <ac:spMkLst>
            <pc:docMk/>
            <pc:sldMk cId="1830388733" sldId="2146846870"/>
            <ac:spMk id="16" creationId="{00000000-0000-0000-0000-000000000000}"/>
          </ac:spMkLst>
        </pc:spChg>
        <pc:picChg chg="del">
          <ac:chgData name="Mateusz Rudzki" userId="aa649b78-41d5-4252-a7cc-9416bf06c744" providerId="ADAL" clId="{E39460C8-93C1-430F-B908-327D60B10093}" dt="2022-05-26T13:39:08.524" v="143" actId="478"/>
          <ac:picMkLst>
            <pc:docMk/>
            <pc:sldMk cId="1830388733" sldId="2146846870"/>
            <ac:picMk id="6" creationId="{E677E80D-FA1D-F00A-A86F-18D50B3E23AF}"/>
          </ac:picMkLst>
        </pc:picChg>
        <pc:picChg chg="add mod">
          <ac:chgData name="Mateusz Rudzki" userId="aa649b78-41d5-4252-a7cc-9416bf06c744" providerId="ADAL" clId="{E39460C8-93C1-430F-B908-327D60B10093}" dt="2022-05-26T13:41:03.980" v="168" actId="1076"/>
          <ac:picMkLst>
            <pc:docMk/>
            <pc:sldMk cId="1830388733" sldId="2146846870"/>
            <ac:picMk id="7" creationId="{CDDD4C20-2111-9236-8830-27792BE593F6}"/>
          </ac:picMkLst>
        </pc:picChg>
      </pc:sldChg>
      <pc:sldChg chg="modSp add mod">
        <pc:chgData name="Mateusz Rudzki" userId="aa649b78-41d5-4252-a7cc-9416bf06c744" providerId="ADAL" clId="{E39460C8-93C1-430F-B908-327D60B10093}" dt="2022-05-26T13:41:49.597" v="175"/>
        <pc:sldMkLst>
          <pc:docMk/>
          <pc:sldMk cId="3162867354" sldId="2146846871"/>
        </pc:sldMkLst>
        <pc:spChg chg="mod">
          <ac:chgData name="Mateusz Rudzki" userId="aa649b78-41d5-4252-a7cc-9416bf06c744" providerId="ADAL" clId="{E39460C8-93C1-430F-B908-327D60B10093}" dt="2022-05-26T13:41:49.597" v="175"/>
          <ac:spMkLst>
            <pc:docMk/>
            <pc:sldMk cId="3162867354" sldId="2146846871"/>
            <ac:spMk id="2" creationId="{71884D50-B1ED-BA4C-255F-7CB2B0C1332A}"/>
          </ac:spMkLst>
        </pc:spChg>
      </pc:sldChg>
      <pc:sldChg chg="addSp delSp modSp add mod modAnim">
        <pc:chgData name="Mateusz Rudzki" userId="aa649b78-41d5-4252-a7cc-9416bf06c744" providerId="ADAL" clId="{E39460C8-93C1-430F-B908-327D60B10093}" dt="2022-05-26T13:45:40.872" v="219" actId="113"/>
        <pc:sldMkLst>
          <pc:docMk/>
          <pc:sldMk cId="3897677893" sldId="2146846872"/>
        </pc:sldMkLst>
        <pc:spChg chg="mod">
          <ac:chgData name="Mateusz Rudzki" userId="aa649b78-41d5-4252-a7cc-9416bf06c744" providerId="ADAL" clId="{E39460C8-93C1-430F-B908-327D60B10093}" dt="2022-05-26T13:45:40.872" v="219" actId="113"/>
          <ac:spMkLst>
            <pc:docMk/>
            <pc:sldMk cId="3897677893" sldId="2146846872"/>
            <ac:spMk id="2" creationId="{00000000-0000-0000-0000-000000000000}"/>
          </ac:spMkLst>
        </pc:spChg>
        <pc:spChg chg="mod">
          <ac:chgData name="Mateusz Rudzki" userId="aa649b78-41d5-4252-a7cc-9416bf06c744" providerId="ADAL" clId="{E39460C8-93C1-430F-B908-327D60B10093}" dt="2022-05-26T13:44:25.451" v="203" actId="14100"/>
          <ac:spMkLst>
            <pc:docMk/>
            <pc:sldMk cId="3897677893" sldId="2146846872"/>
            <ac:spMk id="9" creationId="{FC295F90-250D-4D04-9053-D338CABF663C}"/>
          </ac:spMkLst>
        </pc:spChg>
        <pc:spChg chg="mod">
          <ac:chgData name="Mateusz Rudzki" userId="aa649b78-41d5-4252-a7cc-9416bf06c744" providerId="ADAL" clId="{E39460C8-93C1-430F-B908-327D60B10093}" dt="2022-05-26T13:44:50.852" v="209" actId="1076"/>
          <ac:spMkLst>
            <pc:docMk/>
            <pc:sldMk cId="3897677893" sldId="2146846872"/>
            <ac:spMk id="16" creationId="{00000000-0000-0000-0000-000000000000}"/>
          </ac:spMkLst>
        </pc:spChg>
        <pc:picChg chg="add mod">
          <ac:chgData name="Mateusz Rudzki" userId="aa649b78-41d5-4252-a7cc-9416bf06c744" providerId="ADAL" clId="{E39460C8-93C1-430F-B908-327D60B10093}" dt="2022-05-26T13:44:57.623" v="211" actId="14100"/>
          <ac:picMkLst>
            <pc:docMk/>
            <pc:sldMk cId="3897677893" sldId="2146846872"/>
            <ac:picMk id="6" creationId="{77365D6C-F69B-E0B9-ECFB-01770FEEF85F}"/>
          </ac:picMkLst>
        </pc:picChg>
        <pc:picChg chg="del">
          <ac:chgData name="Mateusz Rudzki" userId="aa649b78-41d5-4252-a7cc-9416bf06c744" providerId="ADAL" clId="{E39460C8-93C1-430F-B908-327D60B10093}" dt="2022-05-26T13:42:06.865" v="177" actId="478"/>
          <ac:picMkLst>
            <pc:docMk/>
            <pc:sldMk cId="3897677893" sldId="2146846872"/>
            <ac:picMk id="7" creationId="{CDDD4C20-2111-9236-8830-27792BE593F6}"/>
          </ac:picMkLst>
        </pc:picChg>
      </pc:sldChg>
      <pc:sldChg chg="modSp add mod">
        <pc:chgData name="Mateusz Rudzki" userId="aa649b78-41d5-4252-a7cc-9416bf06c744" providerId="ADAL" clId="{E39460C8-93C1-430F-B908-327D60B10093}" dt="2022-05-26T13:46:24.831" v="223" actId="20577"/>
        <pc:sldMkLst>
          <pc:docMk/>
          <pc:sldMk cId="2211667429" sldId="2146846873"/>
        </pc:sldMkLst>
        <pc:spChg chg="mod">
          <ac:chgData name="Mateusz Rudzki" userId="aa649b78-41d5-4252-a7cc-9416bf06c744" providerId="ADAL" clId="{E39460C8-93C1-430F-B908-327D60B10093}" dt="2022-05-26T13:46:24.831" v="223" actId="20577"/>
          <ac:spMkLst>
            <pc:docMk/>
            <pc:sldMk cId="2211667429" sldId="2146846873"/>
            <ac:spMk id="2" creationId="{AF828355-3AB6-AF75-03E6-DE64BA108ABE}"/>
          </ac:spMkLst>
        </pc:spChg>
      </pc:sldChg>
      <pc:sldChg chg="modSp add mod">
        <pc:chgData name="Mateusz Rudzki" userId="aa649b78-41d5-4252-a7cc-9416bf06c744" providerId="ADAL" clId="{E39460C8-93C1-430F-B908-327D60B10093}" dt="2022-05-26T13:50:13.718" v="262" actId="20577"/>
        <pc:sldMkLst>
          <pc:docMk/>
          <pc:sldMk cId="161715090" sldId="2146846874"/>
        </pc:sldMkLst>
        <pc:spChg chg="mod">
          <ac:chgData name="Mateusz Rudzki" userId="aa649b78-41d5-4252-a7cc-9416bf06c744" providerId="ADAL" clId="{E39460C8-93C1-430F-B908-327D60B10093}" dt="2022-05-26T13:50:13.718" v="262" actId="20577"/>
          <ac:spMkLst>
            <pc:docMk/>
            <pc:sldMk cId="161715090" sldId="2146846874"/>
            <ac:spMk id="2" creationId="{AF828355-3AB6-AF75-03E6-DE64BA108ABE}"/>
          </ac:spMkLst>
        </pc:spChg>
      </pc:sldChg>
      <pc:sldChg chg="addSp delSp modSp add mod modClrScheme chgLayout">
        <pc:chgData name="Mateusz Rudzki" userId="aa649b78-41d5-4252-a7cc-9416bf06c744" providerId="ADAL" clId="{E39460C8-93C1-430F-B908-327D60B10093}" dt="2022-05-26T13:51:14.840" v="277" actId="14100"/>
        <pc:sldMkLst>
          <pc:docMk/>
          <pc:sldMk cId="1925295358" sldId="2146846875"/>
        </pc:sldMkLst>
        <pc:spChg chg="mod ord">
          <ac:chgData name="Mateusz Rudzki" userId="aa649b78-41d5-4252-a7cc-9416bf06c744" providerId="ADAL" clId="{E39460C8-93C1-430F-B908-327D60B10093}" dt="2022-05-26T13:50:43.006" v="270" actId="207"/>
          <ac:spMkLst>
            <pc:docMk/>
            <pc:sldMk cId="1925295358" sldId="2146846875"/>
            <ac:spMk id="2" creationId="{3E6EB4E5-37C7-4F6F-BCC4-13E55E740C44}"/>
          </ac:spMkLst>
        </pc:spChg>
        <pc:spChg chg="mod">
          <ac:chgData name="Mateusz Rudzki" userId="aa649b78-41d5-4252-a7cc-9416bf06c744" providerId="ADAL" clId="{E39460C8-93C1-430F-B908-327D60B10093}" dt="2022-05-26T13:51:14.840" v="277" actId="14100"/>
          <ac:spMkLst>
            <pc:docMk/>
            <pc:sldMk cId="1925295358" sldId="2146846875"/>
            <ac:spMk id="3" creationId="{44D5A416-5660-4E70-AFFF-3C0A86B31D4C}"/>
          </ac:spMkLst>
        </pc:spChg>
        <pc:spChg chg="add del mod">
          <ac:chgData name="Mateusz Rudzki" userId="aa649b78-41d5-4252-a7cc-9416bf06c744" providerId="ADAL" clId="{E39460C8-93C1-430F-B908-327D60B10093}" dt="2022-05-26T13:50:29.877" v="264"/>
          <ac:spMkLst>
            <pc:docMk/>
            <pc:sldMk cId="1925295358" sldId="2146846875"/>
            <ac:spMk id="4" creationId="{A2E01DD4-D544-E056-6723-DE62B1E5BD19}"/>
          </ac:spMkLst>
        </pc:spChg>
        <pc:spChg chg="mod">
          <ac:chgData name="Mateusz Rudzki" userId="aa649b78-41d5-4252-a7cc-9416bf06c744" providerId="ADAL" clId="{E39460C8-93C1-430F-B908-327D60B10093}" dt="2022-05-26T13:51:03.210" v="275" actId="207"/>
          <ac:spMkLst>
            <pc:docMk/>
            <pc:sldMk cId="1925295358" sldId="2146846875"/>
            <ac:spMk id="7" creationId="{AD26A087-3E1B-4C58-8C87-02F1AD5F6C6F}"/>
          </ac:spMkLst>
        </pc:spChg>
        <pc:spChg chg="mod">
          <ac:chgData name="Mateusz Rudzki" userId="aa649b78-41d5-4252-a7cc-9416bf06c744" providerId="ADAL" clId="{E39460C8-93C1-430F-B908-327D60B10093}" dt="2022-05-26T13:51:09.939" v="276" actId="1076"/>
          <ac:spMkLst>
            <pc:docMk/>
            <pc:sldMk cId="1925295358" sldId="2146846875"/>
            <ac:spMk id="8" creationId="{2C1FE156-3E97-4B7E-BAE7-A5F79E996183}"/>
          </ac:spMkLst>
        </pc:spChg>
      </pc:sldChg>
      <pc:sldChg chg="modSp add mod">
        <pc:chgData name="Mateusz Rudzki" userId="aa649b78-41d5-4252-a7cc-9416bf06c744" providerId="ADAL" clId="{E39460C8-93C1-430F-B908-327D60B10093}" dt="2022-05-26T13:51:51.096" v="279"/>
        <pc:sldMkLst>
          <pc:docMk/>
          <pc:sldMk cId="1700253142" sldId="2146846876"/>
        </pc:sldMkLst>
        <pc:spChg chg="mod">
          <ac:chgData name="Mateusz Rudzki" userId="aa649b78-41d5-4252-a7cc-9416bf06c744" providerId="ADAL" clId="{E39460C8-93C1-430F-B908-327D60B10093}" dt="2022-05-26T13:51:51.096" v="279"/>
          <ac:spMkLst>
            <pc:docMk/>
            <pc:sldMk cId="1700253142" sldId="2146846876"/>
            <ac:spMk id="2" creationId="{71884D50-B1ED-BA4C-255F-7CB2B0C1332A}"/>
          </ac:spMkLst>
        </pc:spChg>
      </pc:sldChg>
      <pc:sldChg chg="modSp add mod modClrScheme chgLayout">
        <pc:chgData name="Mateusz Rudzki" userId="aa649b78-41d5-4252-a7cc-9416bf06c744" providerId="ADAL" clId="{E39460C8-93C1-430F-B908-327D60B10093}" dt="2022-05-26T13:54:42.119" v="312" actId="1076"/>
        <pc:sldMkLst>
          <pc:docMk/>
          <pc:sldMk cId="2031529210" sldId="2146846877"/>
        </pc:sldMkLst>
        <pc:spChg chg="mod ord">
          <ac:chgData name="Mateusz Rudzki" userId="aa649b78-41d5-4252-a7cc-9416bf06c744" providerId="ADAL" clId="{E39460C8-93C1-430F-B908-327D60B10093}" dt="2022-05-26T13:53:02.818" v="295" actId="207"/>
          <ac:spMkLst>
            <pc:docMk/>
            <pc:sldMk cId="2031529210" sldId="2146846877"/>
            <ac:spMk id="2" creationId="{3E6EB4E5-37C7-4F6F-BCC4-13E55E740C44}"/>
          </ac:spMkLst>
        </pc:spChg>
        <pc:spChg chg="mod">
          <ac:chgData name="Mateusz Rudzki" userId="aa649b78-41d5-4252-a7cc-9416bf06c744" providerId="ADAL" clId="{E39460C8-93C1-430F-B908-327D60B10093}" dt="2022-05-26T13:52:45.564" v="292" actId="207"/>
          <ac:spMkLst>
            <pc:docMk/>
            <pc:sldMk cId="2031529210" sldId="2146846877"/>
            <ac:spMk id="7" creationId="{AD26A087-3E1B-4C58-8C87-02F1AD5F6C6F}"/>
          </ac:spMkLst>
        </pc:spChg>
        <pc:spChg chg="mod">
          <ac:chgData name="Mateusz Rudzki" userId="aa649b78-41d5-4252-a7cc-9416bf06c744" providerId="ADAL" clId="{E39460C8-93C1-430F-B908-327D60B10093}" dt="2022-05-26T13:54:42.119" v="312" actId="1076"/>
          <ac:spMkLst>
            <pc:docMk/>
            <pc:sldMk cId="2031529210" sldId="2146846877"/>
            <ac:spMk id="8" creationId="{2C1FE156-3E97-4B7E-BAE7-A5F79E996183}"/>
          </ac:spMkLst>
        </pc:spChg>
        <pc:picChg chg="mod">
          <ac:chgData name="Mateusz Rudzki" userId="aa649b78-41d5-4252-a7cc-9416bf06c744" providerId="ADAL" clId="{E39460C8-93C1-430F-B908-327D60B10093}" dt="2022-05-26T13:52:52.923" v="294" actId="14100"/>
          <ac:picMkLst>
            <pc:docMk/>
            <pc:sldMk cId="2031529210" sldId="2146846877"/>
            <ac:picMk id="6" creationId="{46E7CE27-7D8D-4420-BBC1-C6210A7F8556}"/>
          </ac:picMkLst>
        </pc:picChg>
      </pc:sldChg>
      <pc:sldChg chg="modSp add mod">
        <pc:chgData name="Mateusz Rudzki" userId="aa649b78-41d5-4252-a7cc-9416bf06c744" providerId="ADAL" clId="{E39460C8-93C1-430F-B908-327D60B10093}" dt="2022-05-26T13:53:25.537" v="297"/>
        <pc:sldMkLst>
          <pc:docMk/>
          <pc:sldMk cId="3010635797" sldId="2146846878"/>
        </pc:sldMkLst>
        <pc:spChg chg="mod">
          <ac:chgData name="Mateusz Rudzki" userId="aa649b78-41d5-4252-a7cc-9416bf06c744" providerId="ADAL" clId="{E39460C8-93C1-430F-B908-327D60B10093}" dt="2022-05-26T13:53:25.537" v="297"/>
          <ac:spMkLst>
            <pc:docMk/>
            <pc:sldMk cId="3010635797" sldId="2146846878"/>
            <ac:spMk id="2" creationId="{71884D50-B1ED-BA4C-255F-7CB2B0C1332A}"/>
          </ac:spMkLst>
        </pc:spChg>
      </pc:sldChg>
      <pc:sldChg chg="modSp add mod">
        <pc:chgData name="Mateusz Rudzki" userId="aa649b78-41d5-4252-a7cc-9416bf06c744" providerId="ADAL" clId="{E39460C8-93C1-430F-B908-327D60B10093}" dt="2022-05-26T13:55:34.456" v="326" actId="20577"/>
        <pc:sldMkLst>
          <pc:docMk/>
          <pc:sldMk cId="869305106" sldId="2146846879"/>
        </pc:sldMkLst>
        <pc:spChg chg="mod">
          <ac:chgData name="Mateusz Rudzki" userId="aa649b78-41d5-4252-a7cc-9416bf06c744" providerId="ADAL" clId="{E39460C8-93C1-430F-B908-327D60B10093}" dt="2022-05-26T13:55:34.456" v="326" actId="20577"/>
          <ac:spMkLst>
            <pc:docMk/>
            <pc:sldMk cId="869305106" sldId="2146846879"/>
            <ac:spMk id="2" creationId="{AF828355-3AB6-AF75-03E6-DE64BA108ABE}"/>
          </ac:spMkLst>
        </pc:spChg>
      </pc:sldChg>
      <pc:sldChg chg="modSp add mod">
        <pc:chgData name="Mateusz Rudzki" userId="aa649b78-41d5-4252-a7cc-9416bf06c744" providerId="ADAL" clId="{E39460C8-93C1-430F-B908-327D60B10093}" dt="2022-05-26T13:58:09.590" v="345"/>
        <pc:sldMkLst>
          <pc:docMk/>
          <pc:sldMk cId="1346775121" sldId="2146846880"/>
        </pc:sldMkLst>
        <pc:spChg chg="mod">
          <ac:chgData name="Mateusz Rudzki" userId="aa649b78-41d5-4252-a7cc-9416bf06c744" providerId="ADAL" clId="{E39460C8-93C1-430F-B908-327D60B10093}" dt="2022-05-26T13:58:09.590" v="345"/>
          <ac:spMkLst>
            <pc:docMk/>
            <pc:sldMk cId="1346775121" sldId="2146846880"/>
            <ac:spMk id="2" creationId="{71884D50-B1ED-BA4C-255F-7CB2B0C1332A}"/>
          </ac:spMkLst>
        </pc:spChg>
      </pc:sldChg>
      <pc:sldChg chg="modSp add mod ord">
        <pc:chgData name="Mateusz Rudzki" userId="aa649b78-41d5-4252-a7cc-9416bf06c744" providerId="ADAL" clId="{E39460C8-93C1-430F-B908-327D60B10093}" dt="2022-05-26T13:58:07.148" v="344"/>
        <pc:sldMkLst>
          <pc:docMk/>
          <pc:sldMk cId="2781505925" sldId="2146846881"/>
        </pc:sldMkLst>
        <pc:spChg chg="mod">
          <ac:chgData name="Mateusz Rudzki" userId="aa649b78-41d5-4252-a7cc-9416bf06c744" providerId="ADAL" clId="{E39460C8-93C1-430F-B908-327D60B10093}" dt="2022-05-26T13:57:58.246" v="342"/>
          <ac:spMkLst>
            <pc:docMk/>
            <pc:sldMk cId="2781505925" sldId="2146846881"/>
            <ac:spMk id="2" creationId="{71884D50-B1ED-BA4C-255F-7CB2B0C1332A}"/>
          </ac:spMkLst>
        </pc:spChg>
      </pc:sldChg>
      <pc:sldChg chg="modSp new mod">
        <pc:chgData name="Mateusz Rudzki" userId="aa649b78-41d5-4252-a7cc-9416bf06c744" providerId="ADAL" clId="{E39460C8-93C1-430F-B908-327D60B10093}" dt="2022-05-26T13:58:26.152" v="348" actId="207"/>
        <pc:sldMkLst>
          <pc:docMk/>
          <pc:sldMk cId="556580503" sldId="2146846882"/>
        </pc:sldMkLst>
        <pc:spChg chg="mod">
          <ac:chgData name="Mateusz Rudzki" userId="aa649b78-41d5-4252-a7cc-9416bf06c744" providerId="ADAL" clId="{E39460C8-93C1-430F-B908-327D60B10093}" dt="2022-05-26T13:58:26.152" v="348" actId="207"/>
          <ac:spMkLst>
            <pc:docMk/>
            <pc:sldMk cId="556580503" sldId="2146846882"/>
            <ac:spMk id="2" creationId="{5340FC38-544B-6459-C08C-A6D6E9474C36}"/>
          </ac:spMkLst>
        </pc:spChg>
      </pc:sldChg>
    </pc:docChg>
  </pc:docChgLst>
  <pc:docChgLst>
    <pc:chgData name="Mateusz Rudzki" userId="aa649b78-41d5-4252-a7cc-9416bf06c744" providerId="ADAL" clId="{AC3CD44E-6DF0-496E-9992-9749B349C874}"/>
    <pc:docChg chg="undo custSel modSld">
      <pc:chgData name="Mateusz Rudzki" userId="aa649b78-41d5-4252-a7cc-9416bf06c744" providerId="ADAL" clId="{AC3CD44E-6DF0-496E-9992-9749B349C874}" dt="2022-05-26T12:59:42.795" v="27" actId="1076"/>
      <pc:docMkLst>
        <pc:docMk/>
      </pc:docMkLst>
      <pc:sldChg chg="modSp mod">
        <pc:chgData name="Mateusz Rudzki" userId="aa649b78-41d5-4252-a7cc-9416bf06c744" providerId="ADAL" clId="{AC3CD44E-6DF0-496E-9992-9749B349C874}" dt="2022-05-26T12:57:52.746" v="14" actId="255"/>
        <pc:sldMkLst>
          <pc:docMk/>
          <pc:sldMk cId="2011642948" sldId="1753"/>
        </pc:sldMkLst>
        <pc:spChg chg="mod">
          <ac:chgData name="Mateusz Rudzki" userId="aa649b78-41d5-4252-a7cc-9416bf06c744" providerId="ADAL" clId="{AC3CD44E-6DF0-496E-9992-9749B349C874}" dt="2022-05-26T12:57:52.746" v="14" actId="255"/>
          <ac:spMkLst>
            <pc:docMk/>
            <pc:sldMk cId="2011642948" sldId="1753"/>
            <ac:spMk id="7" creationId="{F98D5016-C850-4B7F-B0CB-264DB8A68FF5}"/>
          </ac:spMkLst>
        </pc:spChg>
      </pc:sldChg>
      <pc:sldChg chg="delSp modSp mod modClrScheme chgLayout">
        <pc:chgData name="Mateusz Rudzki" userId="aa649b78-41d5-4252-a7cc-9416bf06c744" providerId="ADAL" clId="{AC3CD44E-6DF0-496E-9992-9749B349C874}" dt="2022-05-26T12:57:12.055" v="6" actId="700"/>
        <pc:sldMkLst>
          <pc:docMk/>
          <pc:sldMk cId="827469342" sldId="1755"/>
        </pc:sldMkLst>
        <pc:spChg chg="del">
          <ac:chgData name="Mateusz Rudzki" userId="aa649b78-41d5-4252-a7cc-9416bf06c744" providerId="ADAL" clId="{AC3CD44E-6DF0-496E-9992-9749B349C874}" dt="2022-05-26T12:57:12.055" v="6" actId="700"/>
          <ac:spMkLst>
            <pc:docMk/>
            <pc:sldMk cId="827469342" sldId="1755"/>
            <ac:spMk id="5" creationId="{AF5AA977-0FF4-43BF-BE7F-B36EA006DBD9}"/>
          </ac:spMkLst>
        </pc:spChg>
        <pc:spChg chg="mod">
          <ac:chgData name="Mateusz Rudzki" userId="aa649b78-41d5-4252-a7cc-9416bf06c744" providerId="ADAL" clId="{AC3CD44E-6DF0-496E-9992-9749B349C874}" dt="2022-05-26T12:57:02.690" v="5" actId="207"/>
          <ac:spMkLst>
            <pc:docMk/>
            <pc:sldMk cId="827469342" sldId="1755"/>
            <ac:spMk id="8" creationId="{086D0D08-D172-4869-B8E1-69A92F25DC8D}"/>
          </ac:spMkLst>
        </pc:spChg>
        <pc:spChg chg="mod">
          <ac:chgData name="Mateusz Rudzki" userId="aa649b78-41d5-4252-a7cc-9416bf06c744" providerId="ADAL" clId="{AC3CD44E-6DF0-496E-9992-9749B349C874}" dt="2022-05-26T12:56:58.321" v="4" actId="2711"/>
          <ac:spMkLst>
            <pc:docMk/>
            <pc:sldMk cId="827469342" sldId="1755"/>
            <ac:spMk id="9" creationId="{27F19049-7C23-4BDF-9322-177BD5B356F6}"/>
          </ac:spMkLst>
        </pc:spChg>
      </pc:sldChg>
      <pc:sldChg chg="modSp mod">
        <pc:chgData name="Mateusz Rudzki" userId="aa649b78-41d5-4252-a7cc-9416bf06c744" providerId="ADAL" clId="{AC3CD44E-6DF0-496E-9992-9749B349C874}" dt="2022-05-26T12:55:44.442" v="0" actId="113"/>
        <pc:sldMkLst>
          <pc:docMk/>
          <pc:sldMk cId="2932561819" sldId="2018"/>
        </pc:sldMkLst>
        <pc:spChg chg="mod">
          <ac:chgData name="Mateusz Rudzki" userId="aa649b78-41d5-4252-a7cc-9416bf06c744" providerId="ADAL" clId="{AC3CD44E-6DF0-496E-9992-9749B349C874}" dt="2022-05-26T12:55:44.442" v="0" actId="113"/>
          <ac:spMkLst>
            <pc:docMk/>
            <pc:sldMk cId="2932561819" sldId="2018"/>
            <ac:spMk id="6" creationId="{E88C8C47-2BA0-4FA2-9983-FE255A0303BF}"/>
          </ac:spMkLst>
        </pc:spChg>
      </pc:sldChg>
      <pc:sldChg chg="modSp mod">
        <pc:chgData name="Mateusz Rudzki" userId="aa649b78-41d5-4252-a7cc-9416bf06c744" providerId="ADAL" clId="{AC3CD44E-6DF0-496E-9992-9749B349C874}" dt="2022-05-26T12:59:00.347" v="22" actId="1076"/>
        <pc:sldMkLst>
          <pc:docMk/>
          <pc:sldMk cId="2979040153" sldId="2074"/>
        </pc:sldMkLst>
        <pc:spChg chg="mod">
          <ac:chgData name="Mateusz Rudzki" userId="aa649b78-41d5-4252-a7cc-9416bf06c744" providerId="ADAL" clId="{AC3CD44E-6DF0-496E-9992-9749B349C874}" dt="2022-05-26T12:58:56.151" v="21" actId="207"/>
          <ac:spMkLst>
            <pc:docMk/>
            <pc:sldMk cId="2979040153" sldId="2074"/>
            <ac:spMk id="7" creationId="{AD26A087-3E1B-4C58-8C87-02F1AD5F6C6F}"/>
          </ac:spMkLst>
        </pc:spChg>
        <pc:spChg chg="mod">
          <ac:chgData name="Mateusz Rudzki" userId="aa649b78-41d5-4252-a7cc-9416bf06c744" providerId="ADAL" clId="{AC3CD44E-6DF0-496E-9992-9749B349C874}" dt="2022-05-26T12:59:00.347" v="22" actId="1076"/>
          <ac:spMkLst>
            <pc:docMk/>
            <pc:sldMk cId="2979040153" sldId="2074"/>
            <ac:spMk id="8" creationId="{2C1FE156-3E97-4B7E-BAE7-A5F79E996183}"/>
          </ac:spMkLst>
        </pc:spChg>
      </pc:sldChg>
      <pc:sldChg chg="modSp mod">
        <pc:chgData name="Mateusz Rudzki" userId="aa649b78-41d5-4252-a7cc-9416bf06c744" providerId="ADAL" clId="{AC3CD44E-6DF0-496E-9992-9749B349C874}" dt="2022-05-26T12:59:42.795" v="27" actId="1076"/>
        <pc:sldMkLst>
          <pc:docMk/>
          <pc:sldMk cId="989885012" sldId="2075"/>
        </pc:sldMkLst>
        <pc:spChg chg="mod">
          <ac:chgData name="Mateusz Rudzki" userId="aa649b78-41d5-4252-a7cc-9416bf06c744" providerId="ADAL" clId="{AC3CD44E-6DF0-496E-9992-9749B349C874}" dt="2022-05-26T12:59:33.278" v="26" actId="14100"/>
          <ac:spMkLst>
            <pc:docMk/>
            <pc:sldMk cId="989885012" sldId="2075"/>
            <ac:spMk id="7" creationId="{AD26A087-3E1B-4C58-8C87-02F1AD5F6C6F}"/>
          </ac:spMkLst>
        </pc:spChg>
        <pc:spChg chg="mod">
          <ac:chgData name="Mateusz Rudzki" userId="aa649b78-41d5-4252-a7cc-9416bf06c744" providerId="ADAL" clId="{AC3CD44E-6DF0-496E-9992-9749B349C874}" dt="2022-05-26T12:59:42.795" v="27" actId="1076"/>
          <ac:spMkLst>
            <pc:docMk/>
            <pc:sldMk cId="989885012" sldId="2075"/>
            <ac:spMk id="8" creationId="{2C1FE156-3E97-4B7E-BAE7-A5F79E996183}"/>
          </ac:spMkLst>
        </pc:spChg>
        <pc:picChg chg="mod">
          <ac:chgData name="Mateusz Rudzki" userId="aa649b78-41d5-4252-a7cc-9416bf06c744" providerId="ADAL" clId="{AC3CD44E-6DF0-496E-9992-9749B349C874}" dt="2022-05-26T12:58:43.306" v="19" actId="14100"/>
          <ac:picMkLst>
            <pc:docMk/>
            <pc:sldMk cId="989885012" sldId="2075"/>
            <ac:picMk id="6" creationId="{46E7CE27-7D8D-4420-BBC1-C6210A7F8556}"/>
          </ac:picMkLst>
        </pc:picChg>
      </pc:sldChg>
      <pc:sldChg chg="modSp mod">
        <pc:chgData name="Mateusz Rudzki" userId="aa649b78-41d5-4252-a7cc-9416bf06c744" providerId="ADAL" clId="{AC3CD44E-6DF0-496E-9992-9749B349C874}" dt="2022-05-26T12:55:47.556" v="1" actId="113"/>
        <pc:sldMkLst>
          <pc:docMk/>
          <pc:sldMk cId="2146656937" sldId="2076138854"/>
        </pc:sldMkLst>
        <pc:spChg chg="mod">
          <ac:chgData name="Mateusz Rudzki" userId="aa649b78-41d5-4252-a7cc-9416bf06c744" providerId="ADAL" clId="{AC3CD44E-6DF0-496E-9992-9749B349C874}" dt="2022-05-26T12:55:47.556" v="1" actId="113"/>
          <ac:spMkLst>
            <pc:docMk/>
            <pc:sldMk cId="2146656937" sldId="2076138854"/>
            <ac:spMk id="11" creationId="{6F867603-9F57-4852-B893-C322CFE31669}"/>
          </ac:spMkLst>
        </pc:spChg>
      </pc:sldChg>
      <pc:sldChg chg="modSp mod">
        <pc:chgData name="Mateusz Rudzki" userId="aa649b78-41d5-4252-a7cc-9416bf06c744" providerId="ADAL" clId="{AC3CD44E-6DF0-496E-9992-9749B349C874}" dt="2022-05-26T12:59:07.257" v="24" actId="1076"/>
        <pc:sldMkLst>
          <pc:docMk/>
          <pc:sldMk cId="944945336" sldId="2076138856"/>
        </pc:sldMkLst>
        <pc:spChg chg="mod">
          <ac:chgData name="Mateusz Rudzki" userId="aa649b78-41d5-4252-a7cc-9416bf06c744" providerId="ADAL" clId="{AC3CD44E-6DF0-496E-9992-9749B349C874}" dt="2022-05-26T12:59:07.257" v="24" actId="1076"/>
          <ac:spMkLst>
            <pc:docMk/>
            <pc:sldMk cId="944945336" sldId="2076138856"/>
            <ac:spMk id="4" creationId="{9F05A392-00BB-47D4-8AA2-5E3EBCC49FC7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984E9E7-0A46-C642-B1CD-9F43F63A761F}" type="datetime1">
              <a:rPr lang="en-US" smtClean="0"/>
              <a:t>5/26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DC0FFE6-5FBB-9B41-A19C-338E023F0B0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567709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3F37FED-970C-2049-96AE-96BD1BA5E2DA}" type="datetime1">
              <a:rPr lang="en-US" smtClean="0"/>
              <a:t>5/26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Click to edit Master text styles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048085-8ED8-F544-9D86-69C4C46BE9E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996025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735D0F-15CB-5241-8DA7-9EC6F9751AD5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812985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1735D0F-15CB-5241-8DA7-9EC6F9751AD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962314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1735D0F-15CB-5241-8DA7-9EC6F9751AD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752136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1735D0F-15CB-5241-8DA7-9EC6F9751AD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751730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6E4318-D2D1-49C0-9BC1-FABC7A1602C8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253968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6E4318-D2D1-49C0-9BC1-FABC7A1602C8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764281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6E4318-D2D1-49C0-9BC1-FABC7A1602C8}" type="slidenum">
              <a:rPr lang="en-US" smtClean="0"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55381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Organizations with more than 50% of their workforce working remotely took nearly 316 days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6E4318-D2D1-49C0-9BC1-FABC7A1602C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47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263312-38AA-4E1E-B2B5-0F8F122B24F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89864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263312-38AA-4E1E-B2B5-0F8F122B24F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49025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263312-38AA-4E1E-B2B5-0F8F122B24F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85820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263312-38AA-4E1E-B2B5-0F8F122B24F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615616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1735D0F-15CB-5241-8DA7-9EC6F9751AD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31099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1735D0F-15CB-5241-8DA7-9EC6F9751AD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0314977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1735D0F-15CB-5241-8DA7-9EC6F9751AD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96366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ing p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107894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peaker p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9552" y="1995686"/>
            <a:ext cx="8064896" cy="720080"/>
          </a:xfrm>
        </p:spPr>
        <p:txBody>
          <a:bodyPr>
            <a:normAutofit/>
          </a:bodyPr>
          <a:lstStyle>
            <a:lvl1pPr algn="ctr">
              <a:defRPr sz="2800">
                <a:solidFill>
                  <a:srgbClr val="FDBA12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5" name="Plassholder for tekst 3">
            <a:extLst>
              <a:ext uri="{FF2B5EF4-FFF2-40B4-BE49-F238E27FC236}">
                <a16:creationId xmlns:a16="http://schemas.microsoft.com/office/drawing/2014/main" id="{1CD8EA4B-13CD-40B4-BDDD-B2F23644D4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552" y="2931791"/>
            <a:ext cx="8064896" cy="432048"/>
          </a:xfrm>
        </p:spPr>
        <p:txBody>
          <a:bodyPr/>
          <a:lstStyle>
            <a:lvl1pPr marL="0" indent="0" algn="ctr">
              <a:buClr>
                <a:srgbClr val="FDBA12"/>
              </a:buClr>
              <a:buFontTx/>
              <a:buNone/>
              <a:defRPr baseline="0">
                <a:solidFill>
                  <a:schemeClr val="bg1"/>
                </a:solidFill>
                <a:latin typeface="IBM Plex Sans" panose="020B0503050203000203" pitchFamily="34" charset="0"/>
                <a:cs typeface="Museo Sans 100"/>
              </a:defRPr>
            </a:lvl1pPr>
            <a:lvl2pPr marL="457200" indent="0">
              <a:buClr>
                <a:srgbClr val="FDBA12"/>
              </a:buClr>
              <a:buFontTx/>
              <a:buNone/>
              <a:defRPr baseline="0">
                <a:solidFill>
                  <a:schemeClr val="bg1"/>
                </a:solidFill>
                <a:latin typeface="IBM Plex Sans" panose="020B0503050203000203" pitchFamily="34" charset="0"/>
                <a:cs typeface="Museo Sans 100"/>
              </a:defRPr>
            </a:lvl2pPr>
            <a:lvl3pPr marL="914400" indent="0">
              <a:buClr>
                <a:srgbClr val="FDBA12"/>
              </a:buClr>
              <a:buFontTx/>
              <a:buNone/>
              <a:defRPr baseline="0">
                <a:solidFill>
                  <a:schemeClr val="bg1"/>
                </a:solidFill>
                <a:latin typeface="IBM Plex Sans" panose="020B0503050203000203" pitchFamily="34" charset="0"/>
                <a:cs typeface="Museo Sans 100"/>
              </a:defRPr>
            </a:lvl3pPr>
            <a:lvl4pPr marL="1371600" indent="0">
              <a:buClr>
                <a:srgbClr val="FDBA12"/>
              </a:buClr>
              <a:buFontTx/>
              <a:buNone/>
              <a:defRPr baseline="0">
                <a:solidFill>
                  <a:schemeClr val="bg1"/>
                </a:solidFill>
                <a:latin typeface="IBM Plex Sans" panose="020B0503050203000203" pitchFamily="34" charset="0"/>
                <a:cs typeface="Museo Sans 100"/>
              </a:defRPr>
            </a:lvl4pPr>
            <a:lvl5pPr marL="1828800" indent="0">
              <a:buClr>
                <a:srgbClr val="FDBA12"/>
              </a:buClr>
              <a:buFontTx/>
              <a:buNone/>
              <a:defRPr baseline="0">
                <a:solidFill>
                  <a:schemeClr val="bg1"/>
                </a:solidFill>
                <a:latin typeface="IBM Plex Sans" panose="020B0503050203000203" pitchFamily="34" charset="0"/>
                <a:cs typeface="Museo Sans 100"/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8959681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Q_BLK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03789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reveal/>
      </p:transition>
    </mc:Choice>
    <mc:Fallback xmlns=""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Q_BLK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AC0FCD-156D-4B0D-A579-9F3DC49337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Enter Slide Title</a:t>
            </a:r>
          </a:p>
        </p:txBody>
      </p:sp>
    </p:spTree>
    <p:extLst>
      <p:ext uri="{BB962C8B-B14F-4D97-AF65-F5344CB8AC3E}">
        <p14:creationId xmlns:p14="http://schemas.microsoft.com/office/powerpoint/2010/main" val="2956957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reveal/>
      </p:transition>
    </mc:Choice>
    <mc:Fallback xmlns="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Q_BLK Ques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96485A-57BE-481F-AB94-83DC38898B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2018110"/>
            <a:ext cx="7886700" cy="994172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dirty="0"/>
              <a:t>Question / Chapter</a:t>
            </a:r>
          </a:p>
        </p:txBody>
      </p:sp>
    </p:spTree>
    <p:extLst>
      <p:ext uri="{BB962C8B-B14F-4D97-AF65-F5344CB8AC3E}">
        <p14:creationId xmlns:p14="http://schemas.microsoft.com/office/powerpoint/2010/main" val="1046227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reveal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Q_BLK Chapter Raccoon Th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az 2" descr="Obraz zawierający kot, zwierzę, ssak, czarny&#10;&#10;Opis wygenerowany automatycznie">
            <a:extLst>
              <a:ext uri="{FF2B5EF4-FFF2-40B4-BE49-F238E27FC236}">
                <a16:creationId xmlns:a16="http://schemas.microsoft.com/office/drawing/2014/main" id="{294C98D7-ACDF-442F-8565-792E42CA8B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676"/>
          <a:stretch/>
        </p:blipFill>
        <p:spPr>
          <a:xfrm>
            <a:off x="2923631" y="1009105"/>
            <a:ext cx="6220370" cy="4134395"/>
          </a:xfrm>
          <a:prstGeom prst="rect">
            <a:avLst/>
          </a:prstGeom>
        </p:spPr>
      </p:pic>
      <p:pic>
        <p:nvPicPr>
          <p:cNvPr id="7" name="Obraz 6">
            <a:extLst>
              <a:ext uri="{FF2B5EF4-FFF2-40B4-BE49-F238E27FC236}">
                <a16:creationId xmlns:a16="http://schemas.microsoft.com/office/drawing/2014/main" id="{75957339-4CB2-4432-AFCB-0D5EF2CE41A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823460"/>
            <a:ext cx="9144000" cy="320040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AA2FC2AD-8DC4-404F-8A27-0114BB8A89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194" y="1524000"/>
            <a:ext cx="4279106" cy="207645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Module / Demo Title</a:t>
            </a:r>
          </a:p>
        </p:txBody>
      </p:sp>
    </p:spTree>
    <p:extLst>
      <p:ext uri="{BB962C8B-B14F-4D97-AF65-F5344CB8AC3E}">
        <p14:creationId xmlns:p14="http://schemas.microsoft.com/office/powerpoint/2010/main" val="80849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reveal/>
      </p:transition>
    </mc:Choice>
    <mc:Fallback xmlns="">
      <p:transition spd="slow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Obraz 8">
            <a:extLst>
              <a:ext uri="{FF2B5EF4-FFF2-40B4-BE49-F238E27FC236}">
                <a16:creationId xmlns:a16="http://schemas.microsoft.com/office/drawing/2014/main" id="{9A6614A8-7B6C-4993-9893-87D5CF41C51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427C95B0-F956-424A-987E-0921983AC55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2330162"/>
            <a:ext cx="3852354" cy="2302561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</a:p>
        </p:txBody>
      </p:sp>
      <p:sp>
        <p:nvSpPr>
          <p:cNvPr id="5" name="Symbol zastępczy daty 4">
            <a:extLst>
              <a:ext uri="{FF2B5EF4-FFF2-40B4-BE49-F238E27FC236}">
                <a16:creationId xmlns:a16="http://schemas.microsoft.com/office/drawing/2014/main" id="{0A584F59-DEE5-4DDE-B4D2-2FA4FCDB10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4F40A7-DB8E-4B82-A673-5AC6D251B9FE}" type="datetimeFigureOut">
              <a:rPr lang="pl-PL" smtClean="0"/>
              <a:t>26.05.2022</a:t>
            </a:fld>
            <a:endParaRPr lang="pl-PL"/>
          </a:p>
        </p:txBody>
      </p:sp>
      <p:sp>
        <p:nvSpPr>
          <p:cNvPr id="6" name="Symbol zastępczy stopki 5">
            <a:extLst>
              <a:ext uri="{FF2B5EF4-FFF2-40B4-BE49-F238E27FC236}">
                <a16:creationId xmlns:a16="http://schemas.microsoft.com/office/drawing/2014/main" id="{47595641-314C-4790-8708-BDEB2E8713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ymbol zastępczy numeru slajdu 6">
            <a:extLst>
              <a:ext uri="{FF2B5EF4-FFF2-40B4-BE49-F238E27FC236}">
                <a16:creationId xmlns:a16="http://schemas.microsoft.com/office/drawing/2014/main" id="{AB96A59E-312F-4228-9E6C-C9E42AE78C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87640A-7652-481C-AA6A-162681ED13A3}" type="slidenum">
              <a:rPr lang="pl-PL" smtClean="0"/>
              <a:t>‹#›</a:t>
            </a:fld>
            <a:endParaRPr lang="pl-PL"/>
          </a:p>
        </p:txBody>
      </p:sp>
      <p:pic>
        <p:nvPicPr>
          <p:cNvPr id="11" name="Obraz 10">
            <a:extLst>
              <a:ext uri="{FF2B5EF4-FFF2-40B4-BE49-F238E27FC236}">
                <a16:creationId xmlns:a16="http://schemas.microsoft.com/office/drawing/2014/main" id="{A34F6FC8-B5A5-4CA8-B932-C22D4654046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823460"/>
            <a:ext cx="9144000" cy="320040"/>
          </a:xfrm>
          <a:prstGeom prst="rect">
            <a:avLst/>
          </a:prstGeom>
        </p:spPr>
      </p:pic>
      <p:sp>
        <p:nvSpPr>
          <p:cNvPr id="12" name="Symbol zastępczy tekstu 2">
            <a:extLst>
              <a:ext uri="{FF2B5EF4-FFF2-40B4-BE49-F238E27FC236}">
                <a16:creationId xmlns:a16="http://schemas.microsoft.com/office/drawing/2014/main" id="{9D51C6C3-E636-4A83-8CE3-850B7488DF08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23889" y="1584664"/>
            <a:ext cx="3850457" cy="512686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793">
                <a:solidFill>
                  <a:schemeClr val="bg1"/>
                </a:solidFill>
              </a:defRPr>
            </a:lvl1pPr>
            <a:lvl2pPr marL="341491" indent="0">
              <a:buNone/>
              <a:defRPr sz="1494">
                <a:solidFill>
                  <a:schemeClr val="tx1">
                    <a:tint val="75000"/>
                  </a:schemeClr>
                </a:solidFill>
              </a:defRPr>
            </a:lvl2pPr>
            <a:lvl3pPr marL="682982" indent="0">
              <a:buNone/>
              <a:defRPr sz="1345">
                <a:solidFill>
                  <a:schemeClr val="tx1">
                    <a:tint val="75000"/>
                  </a:schemeClr>
                </a:solidFill>
              </a:defRPr>
            </a:lvl3pPr>
            <a:lvl4pPr marL="1024472" indent="0">
              <a:buNone/>
              <a:defRPr sz="1195">
                <a:solidFill>
                  <a:schemeClr val="tx1">
                    <a:tint val="75000"/>
                  </a:schemeClr>
                </a:solidFill>
              </a:defRPr>
            </a:lvl4pPr>
            <a:lvl5pPr marL="1365963" indent="0">
              <a:buNone/>
              <a:defRPr sz="1195">
                <a:solidFill>
                  <a:schemeClr val="tx1">
                    <a:tint val="75000"/>
                  </a:schemeClr>
                </a:solidFill>
              </a:defRPr>
            </a:lvl5pPr>
            <a:lvl6pPr marL="1707455" indent="0">
              <a:buNone/>
              <a:defRPr sz="1195">
                <a:solidFill>
                  <a:schemeClr val="tx1">
                    <a:tint val="75000"/>
                  </a:schemeClr>
                </a:solidFill>
              </a:defRPr>
            </a:lvl6pPr>
            <a:lvl7pPr marL="2048945" indent="0">
              <a:buNone/>
              <a:defRPr sz="1195">
                <a:solidFill>
                  <a:schemeClr val="tx1">
                    <a:tint val="75000"/>
                  </a:schemeClr>
                </a:solidFill>
              </a:defRPr>
            </a:lvl7pPr>
            <a:lvl8pPr marL="2390435" indent="0">
              <a:buNone/>
              <a:defRPr sz="1195">
                <a:solidFill>
                  <a:schemeClr val="tx1">
                    <a:tint val="75000"/>
                  </a:schemeClr>
                </a:solidFill>
              </a:defRPr>
            </a:lvl8pPr>
            <a:lvl9pPr marL="2731927" indent="0">
              <a:buNone/>
              <a:defRPr sz="119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 dirty="0"/>
              <a:t>Kliknij, aby edytować style wzorca tekstu</a:t>
            </a:r>
          </a:p>
        </p:txBody>
      </p:sp>
      <p:sp>
        <p:nvSpPr>
          <p:cNvPr id="13" name="Tytuł 1">
            <a:extLst>
              <a:ext uri="{FF2B5EF4-FFF2-40B4-BE49-F238E27FC236}">
                <a16:creationId xmlns:a16="http://schemas.microsoft.com/office/drawing/2014/main" id="{F01EA1D2-CE97-43C0-951A-8B9074F921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870" y="692459"/>
            <a:ext cx="3866477" cy="719091"/>
          </a:xfrm>
        </p:spPr>
        <p:txBody>
          <a:bodyPr lIns="0" tIns="0" rIns="0" bIns="0" anchor="t">
            <a:noAutofit/>
          </a:bodyPr>
          <a:lstStyle>
            <a:lvl1pPr>
              <a:defRPr sz="2689" b="0">
                <a:solidFill>
                  <a:schemeClr val="bg1"/>
                </a:solidFill>
                <a:latin typeface="+mj-lt"/>
                <a:ea typeface="Segoe UI Black" panose="020B0A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pl-PL" dirty="0"/>
              <a:t>Kliknij, aby edytować styl</a:t>
            </a:r>
          </a:p>
        </p:txBody>
      </p:sp>
    </p:spTree>
    <p:extLst>
      <p:ext uri="{BB962C8B-B14F-4D97-AF65-F5344CB8AC3E}">
        <p14:creationId xmlns:p14="http://schemas.microsoft.com/office/powerpoint/2010/main" val="778937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reveal/>
      </p:transition>
    </mc:Choice>
    <mc:Fallback xmlns="">
      <p:transition spd="slow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wa elementy zawartości, bez zdjęc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Obraz 8">
            <a:extLst>
              <a:ext uri="{FF2B5EF4-FFF2-40B4-BE49-F238E27FC236}">
                <a16:creationId xmlns:a16="http://schemas.microsoft.com/office/drawing/2014/main" id="{9A6614A8-7B6C-4993-9893-87D5CF41C51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1" name="Obraz 10">
            <a:extLst>
              <a:ext uri="{FF2B5EF4-FFF2-40B4-BE49-F238E27FC236}">
                <a16:creationId xmlns:a16="http://schemas.microsoft.com/office/drawing/2014/main" id="{A34F6FC8-B5A5-4CA8-B932-C22D4654046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823460"/>
            <a:ext cx="9144000" cy="320040"/>
          </a:xfrm>
          <a:prstGeom prst="rect">
            <a:avLst/>
          </a:prstGeom>
        </p:spPr>
      </p:pic>
      <p:sp>
        <p:nvSpPr>
          <p:cNvPr id="12" name="Symbol zastępczy tekstu 2">
            <a:extLst>
              <a:ext uri="{FF2B5EF4-FFF2-40B4-BE49-F238E27FC236}">
                <a16:creationId xmlns:a16="http://schemas.microsoft.com/office/drawing/2014/main" id="{9D51C6C3-E636-4A83-8CE3-850B7488DF08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07870" y="1584665"/>
            <a:ext cx="7896276" cy="3063443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785">
                <a:solidFill>
                  <a:schemeClr val="bg1"/>
                </a:solidFill>
              </a:defRPr>
            </a:lvl1pPr>
            <a:lvl2pPr marL="340088" indent="0">
              <a:buNone/>
              <a:defRPr sz="1488">
                <a:solidFill>
                  <a:schemeClr val="tx1">
                    <a:tint val="75000"/>
                  </a:schemeClr>
                </a:solidFill>
              </a:defRPr>
            </a:lvl2pPr>
            <a:lvl3pPr marL="680174" indent="0">
              <a:buNone/>
              <a:defRPr sz="1340">
                <a:solidFill>
                  <a:schemeClr val="tx1">
                    <a:tint val="75000"/>
                  </a:schemeClr>
                </a:solidFill>
              </a:defRPr>
            </a:lvl3pPr>
            <a:lvl4pPr marL="1020262" indent="0">
              <a:buNone/>
              <a:defRPr sz="1190">
                <a:solidFill>
                  <a:schemeClr val="tx1">
                    <a:tint val="75000"/>
                  </a:schemeClr>
                </a:solidFill>
              </a:defRPr>
            </a:lvl4pPr>
            <a:lvl5pPr marL="1360349" indent="0">
              <a:buNone/>
              <a:defRPr sz="1190">
                <a:solidFill>
                  <a:schemeClr val="tx1">
                    <a:tint val="75000"/>
                  </a:schemeClr>
                </a:solidFill>
              </a:defRPr>
            </a:lvl5pPr>
            <a:lvl6pPr marL="1700438" indent="0">
              <a:buNone/>
              <a:defRPr sz="1190">
                <a:solidFill>
                  <a:schemeClr val="tx1">
                    <a:tint val="75000"/>
                  </a:schemeClr>
                </a:solidFill>
              </a:defRPr>
            </a:lvl6pPr>
            <a:lvl7pPr marL="2040524" indent="0">
              <a:buNone/>
              <a:defRPr sz="1190">
                <a:solidFill>
                  <a:schemeClr val="tx1">
                    <a:tint val="75000"/>
                  </a:schemeClr>
                </a:solidFill>
              </a:defRPr>
            </a:lvl7pPr>
            <a:lvl8pPr marL="2380611" indent="0">
              <a:buNone/>
              <a:defRPr sz="1190">
                <a:solidFill>
                  <a:schemeClr val="tx1">
                    <a:tint val="75000"/>
                  </a:schemeClr>
                </a:solidFill>
              </a:defRPr>
            </a:lvl8pPr>
            <a:lvl9pPr marL="2720699" indent="0">
              <a:buNone/>
              <a:defRPr sz="119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ytuł 1">
            <a:extLst>
              <a:ext uri="{FF2B5EF4-FFF2-40B4-BE49-F238E27FC236}">
                <a16:creationId xmlns:a16="http://schemas.microsoft.com/office/drawing/2014/main" id="{F01EA1D2-CE97-43C0-951A-8B9074F921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870" y="692459"/>
            <a:ext cx="3866477" cy="719091"/>
          </a:xfrm>
        </p:spPr>
        <p:txBody>
          <a:bodyPr lIns="0" tIns="0" rIns="0" bIns="0" anchor="t">
            <a:noAutofit/>
          </a:bodyPr>
          <a:lstStyle>
            <a:lvl1pPr>
              <a:defRPr sz="2678" b="0">
                <a:solidFill>
                  <a:schemeClr val="bg1"/>
                </a:solidFill>
                <a:latin typeface="+mj-lt"/>
                <a:ea typeface="Segoe UI Black" panose="020B0A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662527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reveal/>
      </p:transition>
    </mc:Choice>
    <mc:Fallback xmlns=""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usty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Obraz 8">
            <a:extLst>
              <a:ext uri="{FF2B5EF4-FFF2-40B4-BE49-F238E27FC236}">
                <a16:creationId xmlns:a16="http://schemas.microsoft.com/office/drawing/2014/main" id="{9A6614A8-7B6C-4993-9893-87D5CF41C51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1" name="Obraz 10">
            <a:extLst>
              <a:ext uri="{FF2B5EF4-FFF2-40B4-BE49-F238E27FC236}">
                <a16:creationId xmlns:a16="http://schemas.microsoft.com/office/drawing/2014/main" id="{A34F6FC8-B5A5-4CA8-B932-C22D4654046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823460"/>
            <a:ext cx="9144000" cy="32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3470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reveal/>
      </p:transition>
    </mc:Choice>
    <mc:Fallback xmlns="">
      <p:transition spd="slow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Q_BLK Ful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427C95B0-F956-424A-987E-0921983AC55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80555" y="1382139"/>
            <a:ext cx="8582890" cy="230256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42900" indent="0">
              <a:buNone/>
              <a:defRPr>
                <a:solidFill>
                  <a:schemeClr val="bg1"/>
                </a:solidFill>
              </a:defRPr>
            </a:lvl2pPr>
            <a:lvl3pPr marL="685800" indent="0">
              <a:buNone/>
              <a:defRPr>
                <a:solidFill>
                  <a:schemeClr val="bg1"/>
                </a:solidFill>
              </a:defRPr>
            </a:lvl3pPr>
            <a:lvl4pPr marL="1028700" indent="0">
              <a:buNone/>
              <a:defRPr>
                <a:solidFill>
                  <a:schemeClr val="bg1"/>
                </a:solidFill>
              </a:defRPr>
            </a:lvl4pPr>
            <a:lvl5pPr marL="13716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pl-PL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CFD6A0-8193-4149-8DC7-2F93B102D6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Enter Slide Title</a:t>
            </a:r>
          </a:p>
        </p:txBody>
      </p:sp>
    </p:spTree>
    <p:extLst>
      <p:ext uri="{BB962C8B-B14F-4D97-AF65-F5344CB8AC3E}">
        <p14:creationId xmlns:p14="http://schemas.microsoft.com/office/powerpoint/2010/main" val="331566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reveal/>
      </p:transition>
    </mc:Choice>
    <mc:Fallback xmlns="">
      <p:transition spd="slow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4101709-E55F-1C46-A1A2-25BC956DD7D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1740" y="1171673"/>
            <a:ext cx="3802380" cy="341631"/>
          </a:xfrm>
        </p:spPr>
        <p:txBody>
          <a:bodyPr/>
          <a:lstStyle>
            <a:lvl1pPr marL="0" indent="0">
              <a:buFontTx/>
              <a:buNone/>
              <a:defRPr sz="1800"/>
            </a:lvl1pPr>
            <a:lvl2pPr marL="227006" indent="0">
              <a:buFontTx/>
              <a:buNone/>
              <a:defRPr/>
            </a:lvl2pPr>
            <a:lvl3pPr marL="574661" indent="0">
              <a:buFontTx/>
              <a:buNone/>
              <a:defRPr/>
            </a:lvl3pPr>
            <a:lvl4pPr marL="855641" indent="0">
              <a:buFontTx/>
              <a:buNone/>
              <a:defRPr/>
            </a:lvl4pPr>
            <a:lvl5pPr marL="1082648" indent="0">
              <a:buFontTx/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5648114-C465-9145-A662-D014C47BB63F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331740" y="1513304"/>
            <a:ext cx="3802380" cy="301916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227006" indent="0">
              <a:buFontTx/>
              <a:buNone/>
              <a:defRPr/>
            </a:lvl2pPr>
            <a:lvl3pPr marL="574661" indent="0">
              <a:buFontTx/>
              <a:buNone/>
              <a:defRPr/>
            </a:lvl3pPr>
            <a:lvl4pPr marL="855641" indent="0">
              <a:buFontTx/>
              <a:buNone/>
              <a:defRPr/>
            </a:lvl4pPr>
            <a:lvl5pPr marL="1082648" indent="0">
              <a:buFontTx/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95400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aker and Sessi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9552" y="1995686"/>
            <a:ext cx="8064896" cy="720080"/>
          </a:xfrm>
        </p:spPr>
        <p:txBody>
          <a:bodyPr>
            <a:normAutofit/>
          </a:bodyPr>
          <a:lstStyle>
            <a:lvl1pPr algn="ctr">
              <a:defRPr sz="2800">
                <a:solidFill>
                  <a:srgbClr val="FDBA12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5" name="Plassholder for tekst 3">
            <a:extLst>
              <a:ext uri="{FF2B5EF4-FFF2-40B4-BE49-F238E27FC236}">
                <a16:creationId xmlns:a16="http://schemas.microsoft.com/office/drawing/2014/main" id="{1CD8EA4B-13CD-40B4-BDDD-B2F23644D4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552" y="2931791"/>
            <a:ext cx="8064896" cy="432048"/>
          </a:xfrm>
        </p:spPr>
        <p:txBody>
          <a:bodyPr/>
          <a:lstStyle>
            <a:lvl1pPr marL="0" indent="0" algn="ctr">
              <a:buClr>
                <a:srgbClr val="FDBA12"/>
              </a:buClr>
              <a:buFontTx/>
              <a:buNone/>
              <a:defRPr baseline="0">
                <a:solidFill>
                  <a:schemeClr val="bg1"/>
                </a:solidFill>
                <a:latin typeface="IBM Plex Sans" panose="020B0503050203000203" pitchFamily="34" charset="0"/>
                <a:cs typeface="Museo Sans 100"/>
              </a:defRPr>
            </a:lvl1pPr>
            <a:lvl2pPr marL="457200" indent="0">
              <a:buClr>
                <a:srgbClr val="FDBA12"/>
              </a:buClr>
              <a:buFontTx/>
              <a:buNone/>
              <a:defRPr baseline="0">
                <a:solidFill>
                  <a:schemeClr val="bg1"/>
                </a:solidFill>
                <a:latin typeface="IBM Plex Sans" panose="020B0503050203000203" pitchFamily="34" charset="0"/>
                <a:cs typeface="Museo Sans 100"/>
              </a:defRPr>
            </a:lvl2pPr>
            <a:lvl3pPr marL="914400" indent="0">
              <a:buClr>
                <a:srgbClr val="FDBA12"/>
              </a:buClr>
              <a:buFontTx/>
              <a:buNone/>
              <a:defRPr baseline="0">
                <a:solidFill>
                  <a:schemeClr val="bg1"/>
                </a:solidFill>
                <a:latin typeface="IBM Plex Sans" panose="020B0503050203000203" pitchFamily="34" charset="0"/>
                <a:cs typeface="Museo Sans 100"/>
              </a:defRPr>
            </a:lvl3pPr>
            <a:lvl4pPr marL="1371600" indent="0">
              <a:buClr>
                <a:srgbClr val="FDBA12"/>
              </a:buClr>
              <a:buFontTx/>
              <a:buNone/>
              <a:defRPr baseline="0">
                <a:solidFill>
                  <a:schemeClr val="bg1"/>
                </a:solidFill>
                <a:latin typeface="IBM Plex Sans" panose="020B0503050203000203" pitchFamily="34" charset="0"/>
                <a:cs typeface="Museo Sans 100"/>
              </a:defRPr>
            </a:lvl4pPr>
            <a:lvl5pPr marL="1828800" indent="0">
              <a:buClr>
                <a:srgbClr val="FDBA12"/>
              </a:buClr>
              <a:buFontTx/>
              <a:buNone/>
              <a:defRPr baseline="0">
                <a:solidFill>
                  <a:schemeClr val="bg1"/>
                </a:solidFill>
                <a:latin typeface="IBM Plex Sans" panose="020B0503050203000203" pitchFamily="34" charset="0"/>
                <a:cs typeface="Museo Sans 100"/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111475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D8F95C4E-1091-4AFC-A458-56779C01DE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9552" y="1995686"/>
            <a:ext cx="8064896" cy="720080"/>
          </a:xfrm>
        </p:spPr>
        <p:txBody>
          <a:bodyPr>
            <a:normAutofit/>
          </a:bodyPr>
          <a:lstStyle>
            <a:lvl1pPr algn="ctr">
              <a:defRPr sz="2800">
                <a:solidFill>
                  <a:srgbClr val="FDBA12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 DAR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 baseline="0">
                <a:solidFill>
                  <a:schemeClr val="bg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quarter" idx="10"/>
          </p:nvPr>
        </p:nvSpPr>
        <p:spPr>
          <a:xfrm>
            <a:off x="457200" y="1563688"/>
            <a:ext cx="8229600" cy="2663825"/>
          </a:xfrm>
        </p:spPr>
        <p:txBody>
          <a:bodyPr/>
          <a:lstStyle>
            <a:lvl1pPr>
              <a:buClr>
                <a:srgbClr val="FDBA12"/>
              </a:buClr>
              <a:defRPr baseline="0">
                <a:solidFill>
                  <a:schemeClr val="bg1"/>
                </a:solidFill>
                <a:latin typeface="IBM Plex Sans" panose="020B0503050203000203" pitchFamily="34" charset="0"/>
                <a:cs typeface="Museo Sans 100"/>
              </a:defRPr>
            </a:lvl1pPr>
            <a:lvl2pPr>
              <a:buClr>
                <a:srgbClr val="FDBA12"/>
              </a:buClr>
              <a:defRPr baseline="0">
                <a:solidFill>
                  <a:schemeClr val="bg1"/>
                </a:solidFill>
                <a:latin typeface="IBM Plex Sans" panose="020B0503050203000203" pitchFamily="34" charset="0"/>
                <a:cs typeface="Museo Sans 100"/>
              </a:defRPr>
            </a:lvl2pPr>
            <a:lvl3pPr>
              <a:buClr>
                <a:srgbClr val="FDBA12"/>
              </a:buClr>
              <a:defRPr baseline="0">
                <a:solidFill>
                  <a:schemeClr val="bg1"/>
                </a:solidFill>
                <a:latin typeface="IBM Plex Sans" panose="020B0503050203000203" pitchFamily="34" charset="0"/>
                <a:cs typeface="Museo Sans 100"/>
              </a:defRPr>
            </a:lvl3pPr>
            <a:lvl4pPr>
              <a:buClr>
                <a:srgbClr val="FDBA12"/>
              </a:buClr>
              <a:defRPr baseline="0">
                <a:solidFill>
                  <a:schemeClr val="bg1"/>
                </a:solidFill>
                <a:latin typeface="IBM Plex Sans" panose="020B0503050203000203" pitchFamily="34" charset="0"/>
                <a:cs typeface="Museo Sans 100"/>
              </a:defRPr>
            </a:lvl4pPr>
            <a:lvl5pPr>
              <a:buClr>
                <a:srgbClr val="FDBA12"/>
              </a:buClr>
              <a:defRPr baseline="0">
                <a:solidFill>
                  <a:schemeClr val="bg1"/>
                </a:solidFill>
                <a:latin typeface="IBM Plex Sans" panose="020B0503050203000203" pitchFamily="34" charset="0"/>
                <a:cs typeface="Museo Sans 100"/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 DARK media r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 baseline="0">
                <a:solidFill>
                  <a:schemeClr val="bg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quarter" idx="10"/>
          </p:nvPr>
        </p:nvSpPr>
        <p:spPr>
          <a:xfrm>
            <a:off x="457200" y="1563688"/>
            <a:ext cx="4042792" cy="2663825"/>
          </a:xfrm>
        </p:spPr>
        <p:txBody>
          <a:bodyPr/>
          <a:lstStyle>
            <a:lvl1pPr>
              <a:buClr>
                <a:srgbClr val="FDBA12"/>
              </a:buClr>
              <a:defRPr baseline="0">
                <a:solidFill>
                  <a:schemeClr val="bg1"/>
                </a:solidFill>
                <a:latin typeface="IBM Plex Sans" panose="020B0503050203000203" pitchFamily="34" charset="0"/>
                <a:cs typeface="Museo Sans 100"/>
              </a:defRPr>
            </a:lvl1pPr>
            <a:lvl2pPr>
              <a:buClr>
                <a:srgbClr val="FDBA12"/>
              </a:buClr>
              <a:defRPr baseline="0">
                <a:solidFill>
                  <a:schemeClr val="bg1"/>
                </a:solidFill>
                <a:latin typeface="IBM Plex Sans" panose="020B0503050203000203" pitchFamily="34" charset="0"/>
                <a:cs typeface="Museo Sans 100"/>
              </a:defRPr>
            </a:lvl2pPr>
            <a:lvl3pPr>
              <a:buClr>
                <a:srgbClr val="FDBA12"/>
              </a:buClr>
              <a:defRPr baseline="0">
                <a:solidFill>
                  <a:schemeClr val="bg1"/>
                </a:solidFill>
                <a:latin typeface="IBM Plex Sans" panose="020B0503050203000203" pitchFamily="34" charset="0"/>
                <a:cs typeface="Museo Sans 100"/>
              </a:defRPr>
            </a:lvl3pPr>
            <a:lvl4pPr>
              <a:buClr>
                <a:srgbClr val="FDBA12"/>
              </a:buClr>
              <a:defRPr baseline="0">
                <a:solidFill>
                  <a:schemeClr val="bg1"/>
                </a:solidFill>
                <a:latin typeface="IBM Plex Sans" panose="020B0503050203000203" pitchFamily="34" charset="0"/>
                <a:cs typeface="Museo Sans 100"/>
              </a:defRPr>
            </a:lvl4pPr>
            <a:lvl5pPr>
              <a:buClr>
                <a:srgbClr val="FDBA12"/>
              </a:buClr>
              <a:defRPr baseline="0">
                <a:solidFill>
                  <a:schemeClr val="bg1"/>
                </a:solidFill>
                <a:latin typeface="IBM Plex Sans" panose="020B0503050203000203" pitchFamily="34" charset="0"/>
                <a:cs typeface="Museo Sans 100"/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C619DA90-5716-16E7-D0C6-E0AD562F6B2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716463" y="1563688"/>
            <a:ext cx="3970337" cy="26638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16046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 L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 baseline="0">
                <a:solidFill>
                  <a:srgbClr val="34374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quarter" idx="10"/>
          </p:nvPr>
        </p:nvSpPr>
        <p:spPr>
          <a:xfrm>
            <a:off x="457200" y="1563688"/>
            <a:ext cx="8229600" cy="2663825"/>
          </a:xfrm>
        </p:spPr>
        <p:txBody>
          <a:bodyPr/>
          <a:lstStyle>
            <a:lvl1pPr>
              <a:buClr>
                <a:srgbClr val="FDBA12"/>
              </a:buClr>
              <a:defRPr baseline="0">
                <a:solidFill>
                  <a:srgbClr val="343741"/>
                </a:solidFill>
                <a:latin typeface="IBM Plex Sans" panose="020B0503050203000203" pitchFamily="34" charset="0"/>
                <a:cs typeface="Museo Sans 100"/>
              </a:defRPr>
            </a:lvl1pPr>
            <a:lvl2pPr>
              <a:buClr>
                <a:srgbClr val="FDBA12"/>
              </a:buClr>
              <a:defRPr baseline="0">
                <a:solidFill>
                  <a:srgbClr val="343741"/>
                </a:solidFill>
                <a:latin typeface="IBM Plex Sans" panose="020B0503050203000203" pitchFamily="34" charset="0"/>
                <a:cs typeface="Museo Sans 100"/>
              </a:defRPr>
            </a:lvl2pPr>
            <a:lvl3pPr>
              <a:buClr>
                <a:srgbClr val="FDBA12"/>
              </a:buClr>
              <a:defRPr baseline="0">
                <a:solidFill>
                  <a:srgbClr val="343741"/>
                </a:solidFill>
                <a:latin typeface="IBM Plex Sans" panose="020B0503050203000203" pitchFamily="34" charset="0"/>
                <a:cs typeface="Museo Sans 100"/>
              </a:defRPr>
            </a:lvl3pPr>
            <a:lvl4pPr>
              <a:buClr>
                <a:srgbClr val="FDBA12"/>
              </a:buClr>
              <a:defRPr baseline="0">
                <a:solidFill>
                  <a:srgbClr val="343741"/>
                </a:solidFill>
                <a:latin typeface="IBM Plex Sans" panose="020B0503050203000203" pitchFamily="34" charset="0"/>
                <a:cs typeface="Museo Sans 100"/>
              </a:defRPr>
            </a:lvl4pPr>
            <a:lvl5pPr>
              <a:buClr>
                <a:srgbClr val="FDBA12"/>
              </a:buClr>
              <a:defRPr baseline="0">
                <a:solidFill>
                  <a:srgbClr val="343741"/>
                </a:solidFill>
                <a:latin typeface="IBM Plex Sans" panose="020B0503050203000203" pitchFamily="34" charset="0"/>
                <a:cs typeface="Museo Sans 100"/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9430873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 LIGHT media r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 baseline="0">
                <a:solidFill>
                  <a:srgbClr val="34374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quarter" idx="10"/>
          </p:nvPr>
        </p:nvSpPr>
        <p:spPr>
          <a:xfrm>
            <a:off x="457200" y="1563688"/>
            <a:ext cx="4114800" cy="2663825"/>
          </a:xfrm>
        </p:spPr>
        <p:txBody>
          <a:bodyPr/>
          <a:lstStyle>
            <a:lvl1pPr>
              <a:buClr>
                <a:srgbClr val="FDBA12"/>
              </a:buClr>
              <a:defRPr baseline="0">
                <a:solidFill>
                  <a:srgbClr val="343741"/>
                </a:solidFill>
                <a:latin typeface="IBM Plex Sans" panose="020B0503050203000203" pitchFamily="34" charset="0"/>
                <a:cs typeface="Museo Sans 100"/>
              </a:defRPr>
            </a:lvl1pPr>
            <a:lvl2pPr>
              <a:buClr>
                <a:srgbClr val="FDBA12"/>
              </a:buClr>
              <a:defRPr baseline="0">
                <a:solidFill>
                  <a:srgbClr val="343741"/>
                </a:solidFill>
                <a:latin typeface="IBM Plex Sans" panose="020B0503050203000203" pitchFamily="34" charset="0"/>
                <a:cs typeface="Museo Sans 100"/>
              </a:defRPr>
            </a:lvl2pPr>
            <a:lvl3pPr>
              <a:buClr>
                <a:srgbClr val="FDBA12"/>
              </a:buClr>
              <a:defRPr baseline="0">
                <a:solidFill>
                  <a:srgbClr val="343741"/>
                </a:solidFill>
                <a:latin typeface="IBM Plex Sans" panose="020B0503050203000203" pitchFamily="34" charset="0"/>
                <a:cs typeface="Museo Sans 100"/>
              </a:defRPr>
            </a:lvl3pPr>
            <a:lvl4pPr>
              <a:buClr>
                <a:srgbClr val="FDBA12"/>
              </a:buClr>
              <a:defRPr baseline="0">
                <a:solidFill>
                  <a:srgbClr val="343741"/>
                </a:solidFill>
                <a:latin typeface="IBM Plex Sans" panose="020B0503050203000203" pitchFamily="34" charset="0"/>
                <a:cs typeface="Museo Sans 100"/>
              </a:defRPr>
            </a:lvl4pPr>
            <a:lvl5pPr>
              <a:buClr>
                <a:srgbClr val="FDBA12"/>
              </a:buClr>
              <a:defRPr baseline="0">
                <a:solidFill>
                  <a:srgbClr val="343741"/>
                </a:solidFill>
                <a:latin typeface="IBM Plex Sans" panose="020B0503050203000203" pitchFamily="34" charset="0"/>
                <a:cs typeface="Museo Sans 100"/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C01918F4-FC6F-654D-B51C-42789775576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716463" y="1563688"/>
            <a:ext cx="3970337" cy="266382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17857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 inser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60A42B-155C-4E38-B2A4-05F9B3773F2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8313" y="411510"/>
            <a:ext cx="8208143" cy="4176464"/>
          </a:xfrm>
        </p:spPr>
        <p:txBody>
          <a:bodyPr/>
          <a:lstStyle>
            <a:lvl1pPr>
              <a:buClr>
                <a:srgbClr val="FDBA12"/>
              </a:buClr>
              <a:defRPr/>
            </a:lvl1pPr>
            <a:lvl2pPr>
              <a:buClr>
                <a:srgbClr val="FDBA12"/>
              </a:buClr>
              <a:defRPr/>
            </a:lvl2pPr>
            <a:lvl3pPr>
              <a:buClr>
                <a:srgbClr val="FDBA12"/>
              </a:buClr>
              <a:defRPr/>
            </a:lvl3pPr>
            <a:lvl4pPr>
              <a:buClr>
                <a:srgbClr val="FDBA12"/>
              </a:buClr>
              <a:defRPr/>
            </a:lvl4pPr>
            <a:lvl5pPr>
              <a:buClr>
                <a:srgbClr val="FDBA1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22194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86876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555526"/>
            <a:ext cx="8229600" cy="9144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469927"/>
            <a:ext cx="8229600" cy="28229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3" r:id="rId2"/>
    <p:sldLayoutId id="2147483649" r:id="rId3"/>
    <p:sldLayoutId id="2147483655" r:id="rId4"/>
    <p:sldLayoutId id="2147483695" r:id="rId5"/>
    <p:sldLayoutId id="2147483692" r:id="rId6"/>
    <p:sldLayoutId id="2147483696" r:id="rId7"/>
    <p:sldLayoutId id="2147483694" r:id="rId8"/>
    <p:sldLayoutId id="2147483691" r:id="rId9"/>
    <p:sldLayoutId id="2147483697" r:id="rId10"/>
    <p:sldLayoutId id="2147483698" r:id="rId11"/>
    <p:sldLayoutId id="2147483699" r:id="rId12"/>
    <p:sldLayoutId id="2147483700" r:id="rId13"/>
    <p:sldLayoutId id="2147483701" r:id="rId14"/>
    <p:sldLayoutId id="2147483702" r:id="rId15"/>
    <p:sldLayoutId id="2147483703" r:id="rId16"/>
    <p:sldLayoutId id="2147483704" r:id="rId17"/>
    <p:sldLayoutId id="2147483705" r:id="rId18"/>
    <p:sldLayoutId id="2147483706" r:id="rId19"/>
  </p:sldLayoutIdLst>
  <p:hf sldNum="0" hdr="0" ftr="0" dt="0"/>
  <p:txStyles>
    <p:titleStyle>
      <a:lvl1pPr algn="l" defTabSz="457200" rtl="0" eaLnBrk="1" latinLnBrk="0" hangingPunct="1">
        <a:spcBef>
          <a:spcPct val="0"/>
        </a:spcBef>
        <a:buNone/>
        <a:defRPr sz="3200" kern="1200" baseline="0">
          <a:solidFill>
            <a:srgbClr val="343741"/>
          </a:solidFill>
          <a:latin typeface="IBM Plex Sans" panose="020B0503050203000203" pitchFamily="34" charset="0"/>
          <a:ea typeface="+mj-ea"/>
          <a:cs typeface="Museo Sans 100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rgbClr val="FDBA12"/>
        </a:buClr>
        <a:buFont typeface="Arial"/>
        <a:buChar char="•"/>
        <a:defRPr sz="2000" b="0" i="0" strike="noStrike" kern="1200" baseline="0">
          <a:solidFill>
            <a:srgbClr val="343741"/>
          </a:solidFill>
          <a:latin typeface="IBM Plex Sans" panose="020B0503050203000203" pitchFamily="34" charset="0"/>
          <a:ea typeface="+mn-ea"/>
          <a:cs typeface="Museo Sans 300"/>
        </a:defRPr>
      </a:lvl1pPr>
      <a:lvl2pPr marL="742950" indent="-285750" algn="l" defTabSz="457200" rtl="0" eaLnBrk="1" latinLnBrk="0" hangingPunct="1">
        <a:spcBef>
          <a:spcPct val="20000"/>
        </a:spcBef>
        <a:buClr>
          <a:srgbClr val="FDBA12"/>
        </a:buClr>
        <a:buFont typeface="Arial"/>
        <a:buChar char="•"/>
        <a:defRPr sz="1800" b="0" i="0" kern="1200" baseline="0">
          <a:solidFill>
            <a:srgbClr val="343741"/>
          </a:solidFill>
          <a:latin typeface="IBM Plex Sans" panose="020B0503050203000203" pitchFamily="34" charset="0"/>
          <a:ea typeface="+mn-ea"/>
          <a:cs typeface="Museo Sans 300"/>
        </a:defRPr>
      </a:lvl2pPr>
      <a:lvl3pPr marL="1257300" indent="-342900" algn="l" defTabSz="457200" rtl="0" eaLnBrk="1" latinLnBrk="0" hangingPunct="1">
        <a:spcBef>
          <a:spcPct val="20000"/>
        </a:spcBef>
        <a:buClr>
          <a:srgbClr val="FDBA12"/>
        </a:buClr>
        <a:buFont typeface="Arial"/>
        <a:buChar char="•"/>
        <a:defRPr sz="1800" b="0" i="0" kern="1200" baseline="0">
          <a:solidFill>
            <a:srgbClr val="343741"/>
          </a:solidFill>
          <a:latin typeface="IBM Plex Sans" panose="020B0503050203000203" pitchFamily="34" charset="0"/>
          <a:ea typeface="+mn-ea"/>
          <a:cs typeface="Museo Sans 300"/>
        </a:defRPr>
      </a:lvl3pPr>
      <a:lvl4pPr marL="1600200" indent="-228600" algn="l" defTabSz="457200" rtl="0" eaLnBrk="1" latinLnBrk="0" hangingPunct="1">
        <a:spcBef>
          <a:spcPct val="20000"/>
        </a:spcBef>
        <a:buClr>
          <a:srgbClr val="FDBA12"/>
        </a:buClr>
        <a:buFont typeface="Arial"/>
        <a:buChar char="•"/>
        <a:defRPr sz="1400" b="0" i="0" kern="1200" baseline="0">
          <a:solidFill>
            <a:srgbClr val="343741"/>
          </a:solidFill>
          <a:latin typeface="IBM Plex Sans" panose="020B0503050203000203" pitchFamily="34" charset="0"/>
          <a:ea typeface="+mn-ea"/>
          <a:cs typeface="Museo Sans 300"/>
        </a:defRPr>
      </a:lvl4pPr>
      <a:lvl5pPr marL="2057400" indent="-228600" algn="l" defTabSz="457200" rtl="0" eaLnBrk="1" latinLnBrk="0" hangingPunct="1">
        <a:spcBef>
          <a:spcPct val="20000"/>
        </a:spcBef>
        <a:buClr>
          <a:srgbClr val="FDBA12"/>
        </a:buClr>
        <a:buFont typeface="Arial"/>
        <a:buChar char="•"/>
        <a:defRPr sz="1400" b="0" i="0" kern="1200" baseline="0">
          <a:solidFill>
            <a:srgbClr val="343741"/>
          </a:solidFill>
          <a:latin typeface="IBM Plex Sans" panose="020B0503050203000203" pitchFamily="34" charset="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.xml"/><Relationship Id="rId5" Type="http://schemas.openxmlformats.org/officeDocument/2006/relationships/image" Target="../media/image20.jfif"/><Relationship Id="rId4" Type="http://schemas.openxmlformats.org/officeDocument/2006/relationships/image" Target="../media/image19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.xml"/><Relationship Id="rId5" Type="http://schemas.openxmlformats.org/officeDocument/2006/relationships/image" Target="../media/image21.jpeg"/><Relationship Id="rId4" Type="http://schemas.openxmlformats.org/officeDocument/2006/relationships/image" Target="../media/image19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.xml"/><Relationship Id="rId5" Type="http://schemas.openxmlformats.org/officeDocument/2006/relationships/image" Target="../media/image22.jpg"/><Relationship Id="rId4" Type="http://schemas.openxmlformats.org/officeDocument/2006/relationships/image" Target="../media/image19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3.jp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4.jfif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5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6.jpe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7.jpe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8.jpe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9.JP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11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9.png"/><Relationship Id="rId5" Type="http://schemas.openxmlformats.org/officeDocument/2006/relationships/image" Target="../media/image14.png"/><Relationship Id="rId4" Type="http://schemas.openxmlformats.org/officeDocument/2006/relationships/image" Target="../media/image12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11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9.png"/><Relationship Id="rId5" Type="http://schemas.openxmlformats.org/officeDocument/2006/relationships/image" Target="../media/image14.png"/><Relationship Id="rId4" Type="http://schemas.openxmlformats.org/officeDocument/2006/relationships/image" Target="../media/image12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11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9.png"/><Relationship Id="rId5" Type="http://schemas.openxmlformats.org/officeDocument/2006/relationships/image" Target="../media/image14.png"/><Relationship Id="rId4" Type="http://schemas.openxmlformats.org/officeDocument/2006/relationships/image" Target="../media/image12.png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.xml"/><Relationship Id="rId5" Type="http://schemas.openxmlformats.org/officeDocument/2006/relationships/image" Target="../media/image19.png"/><Relationship Id="rId4" Type="http://schemas.openxmlformats.org/officeDocument/2006/relationships/image" Target="../media/image18.jfi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3069146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884D50-B1ED-BA4C-255F-7CB2B0C1332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Demo: Phishing Little</a:t>
            </a:r>
          </a:p>
        </p:txBody>
      </p:sp>
    </p:spTree>
    <p:extLst>
      <p:ext uri="{BB962C8B-B14F-4D97-AF65-F5344CB8AC3E}">
        <p14:creationId xmlns:p14="http://schemas.microsoft.com/office/powerpoint/2010/main" val="26767607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828355-3AB6-AF75-03E6-DE64BA108AB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#2 Usage of MFA and Conditional Access</a:t>
            </a:r>
          </a:p>
        </p:txBody>
      </p:sp>
    </p:spTree>
    <p:extLst>
      <p:ext uri="{BB962C8B-B14F-4D97-AF65-F5344CB8AC3E}">
        <p14:creationId xmlns:p14="http://schemas.microsoft.com/office/powerpoint/2010/main" val="20681648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FC295F90-250D-4D04-9053-D338CABF663C}"/>
              </a:ext>
            </a:extLst>
          </p:cNvPr>
          <p:cNvSpPr/>
          <p:nvPr/>
        </p:nvSpPr>
        <p:spPr>
          <a:xfrm>
            <a:off x="201919" y="965409"/>
            <a:ext cx="4514098" cy="3751240"/>
          </a:xfrm>
          <a:prstGeom prst="rect">
            <a:avLst/>
          </a:prstGeom>
          <a:solidFill>
            <a:srgbClr val="FDBA12"/>
          </a:solidFill>
          <a:ln>
            <a:solidFill>
              <a:srgbClr val="FDBA1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Segoe UI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  <p:custDataLst>
              <p:tags r:id="rId1"/>
            </p:custDataLst>
          </p:nvPr>
        </p:nvSpPr>
        <p:spPr>
          <a:xfrm>
            <a:off x="380440" y="104356"/>
            <a:ext cx="8229600" cy="914400"/>
          </a:xfrm>
        </p:spPr>
        <p:txBody>
          <a:bodyPr>
            <a:normAutofit/>
          </a:bodyPr>
          <a:lstStyle/>
          <a:p>
            <a:r>
              <a:rPr lang="en-US" b="1" dirty="0">
                <a:solidFill>
                  <a:srgbClr val="FDBA12"/>
                </a:solidFill>
              </a:rPr>
              <a:t>#2 </a:t>
            </a:r>
            <a:r>
              <a:rPr lang="en-US" sz="3200" b="1" dirty="0"/>
              <a:t>Usage of MFA and Conditional Access</a:t>
            </a:r>
            <a:endParaRPr lang="en-US" b="1" dirty="0"/>
          </a:p>
        </p:txBody>
      </p:sp>
      <p:sp>
        <p:nvSpPr>
          <p:cNvPr id="16" name="Rectangle 15"/>
          <p:cNvSpPr/>
          <p:nvPr/>
        </p:nvSpPr>
        <p:spPr bwMode="auto">
          <a:xfrm>
            <a:off x="201919" y="965408"/>
            <a:ext cx="4514098" cy="3751240"/>
          </a:xfrm>
          <a:prstGeom prst="rect">
            <a:avLst/>
          </a:prstGeom>
          <a:solidFill>
            <a:srgbClr val="FDBA1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201695" tIns="100848" rIns="67229" bIns="100848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333032" lvl="1" indent="-317470" defTabSz="914400">
              <a:spcBef>
                <a:spcPts val="600"/>
              </a:spcBef>
              <a:buSzPct val="90000"/>
              <a:buBlip>
                <a:blip r:embed="rId4"/>
              </a:buBlip>
              <a:defRPr/>
            </a:pPr>
            <a:r>
              <a:rPr lang="pl-PL" sz="1700" b="1" dirty="0" err="1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Key</a:t>
            </a:r>
            <a:r>
              <a:rPr lang="pl-PL" sz="1700" b="1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 learning </a:t>
            </a:r>
            <a:r>
              <a:rPr lang="pl-PL" sz="1700" b="1" dirty="0" err="1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points</a:t>
            </a:r>
            <a:r>
              <a:rPr lang="pl-PL" sz="1700" b="1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:</a:t>
            </a:r>
          </a:p>
          <a:p>
            <a:pPr marL="790216" lvl="2" indent="-317470" defTabSz="914400">
              <a:spcBef>
                <a:spcPts val="600"/>
              </a:spcBef>
              <a:buSzPct val="90000"/>
              <a:buBlip>
                <a:blip r:embed="rId4"/>
              </a:buBlip>
              <a:defRPr/>
            </a:pPr>
            <a:r>
              <a:rPr lang="en-US" sz="1700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Passwords are almost always re-used</a:t>
            </a:r>
          </a:p>
          <a:p>
            <a:pPr marL="790216" lvl="2" indent="-317470" defTabSz="914400">
              <a:spcBef>
                <a:spcPts val="600"/>
              </a:spcBef>
              <a:buSzPct val="90000"/>
              <a:buBlip>
                <a:blip r:embed="rId4"/>
              </a:buBlip>
              <a:defRPr/>
            </a:pPr>
            <a:r>
              <a:rPr lang="en-US" sz="1700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There is almost always (</a:t>
            </a:r>
            <a:r>
              <a:rPr lang="en-US" sz="1700" dirty="0" err="1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ekhm</a:t>
            </a:r>
            <a:r>
              <a:rPr lang="en-US" sz="1700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… always) some variant of the company name with some number (year, month etc.)</a:t>
            </a:r>
          </a:p>
          <a:p>
            <a:pPr marL="790216" lvl="2" indent="-317470" defTabSz="914400">
              <a:spcBef>
                <a:spcPts val="600"/>
              </a:spcBef>
              <a:buSzPct val="90000"/>
              <a:buBlip>
                <a:blip r:embed="rId4"/>
              </a:buBlip>
              <a:defRPr/>
            </a:pPr>
            <a:r>
              <a:rPr lang="en-US" sz="1700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It's highly reasonable to check for obvious passwords and continuously deliver security awareness campaigns</a:t>
            </a:r>
          </a:p>
          <a:p>
            <a:pPr marL="790216" lvl="2" indent="-317470" defTabSz="914400">
              <a:spcBef>
                <a:spcPts val="600"/>
              </a:spcBef>
              <a:buSzPct val="90000"/>
              <a:buBlip>
                <a:blip r:embed="rId4"/>
              </a:buBlip>
              <a:defRPr/>
            </a:pPr>
            <a:endParaRPr lang="en-US" sz="2353" dirty="0">
              <a:gradFill>
                <a:gsLst>
                  <a:gs pos="0">
                    <a:srgbClr val="FFFFFF"/>
                  </a:gs>
                  <a:gs pos="99000">
                    <a:srgbClr val="FFFFFF"/>
                  </a:gs>
                </a:gsLst>
                <a:lin ang="5400000" scaled="1"/>
              </a:gradFill>
              <a:latin typeface="IBM Plex Sans" panose="020B0503050203000203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677E80D-FA1D-F00A-A86F-18D50B3E23A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8770"/>
          <a:stretch/>
        </p:blipFill>
        <p:spPr>
          <a:xfrm>
            <a:off x="4905837" y="965408"/>
            <a:ext cx="4067763" cy="3751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56553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884D50-B1ED-BA4C-255F-7CB2B0C1332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Demo: Bypassing MFA</a:t>
            </a:r>
          </a:p>
        </p:txBody>
      </p:sp>
    </p:spTree>
    <p:extLst>
      <p:ext uri="{BB962C8B-B14F-4D97-AF65-F5344CB8AC3E}">
        <p14:creationId xmlns:p14="http://schemas.microsoft.com/office/powerpoint/2010/main" val="13637682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828355-3AB6-AF75-03E6-DE64BA108AB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#3 Network Segmentation and SMB Signing</a:t>
            </a:r>
          </a:p>
        </p:txBody>
      </p:sp>
    </p:spTree>
    <p:extLst>
      <p:ext uri="{BB962C8B-B14F-4D97-AF65-F5344CB8AC3E}">
        <p14:creationId xmlns:p14="http://schemas.microsoft.com/office/powerpoint/2010/main" val="217215705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FC295F90-250D-4D04-9053-D338CABF663C}"/>
              </a:ext>
            </a:extLst>
          </p:cNvPr>
          <p:cNvSpPr/>
          <p:nvPr/>
        </p:nvSpPr>
        <p:spPr>
          <a:xfrm>
            <a:off x="130750" y="802306"/>
            <a:ext cx="4585686" cy="3850192"/>
          </a:xfrm>
          <a:prstGeom prst="rect">
            <a:avLst/>
          </a:prstGeom>
          <a:solidFill>
            <a:srgbClr val="FDBA12"/>
          </a:solidFill>
          <a:ln>
            <a:solidFill>
              <a:srgbClr val="FDBA1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Segoe UI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  <p:custDataLst>
              <p:tags r:id="rId1"/>
            </p:custDataLst>
          </p:nvPr>
        </p:nvSpPr>
        <p:spPr>
          <a:xfrm>
            <a:off x="380440" y="104356"/>
            <a:ext cx="8229600" cy="914400"/>
          </a:xfrm>
        </p:spPr>
        <p:txBody>
          <a:bodyPr>
            <a:normAutofit/>
          </a:bodyPr>
          <a:lstStyle/>
          <a:p>
            <a:r>
              <a:rPr lang="en-US" b="1" dirty="0">
                <a:solidFill>
                  <a:srgbClr val="FDBA12"/>
                </a:solidFill>
              </a:rPr>
              <a:t>#3A </a:t>
            </a:r>
            <a:r>
              <a:rPr lang="en-US" sz="3200" b="1" dirty="0"/>
              <a:t>Network segmentation </a:t>
            </a:r>
            <a:endParaRPr lang="en-US" b="1" dirty="0"/>
          </a:p>
        </p:txBody>
      </p:sp>
      <p:sp>
        <p:nvSpPr>
          <p:cNvPr id="16" name="Rectangle 15"/>
          <p:cNvSpPr/>
          <p:nvPr/>
        </p:nvSpPr>
        <p:spPr bwMode="auto">
          <a:xfrm>
            <a:off x="130750" y="809790"/>
            <a:ext cx="4585686" cy="3850192"/>
          </a:xfrm>
          <a:prstGeom prst="rect">
            <a:avLst/>
          </a:prstGeom>
          <a:solidFill>
            <a:srgbClr val="FDBA1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201695" tIns="100848" rIns="67229" bIns="100848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333032" lvl="1" indent="-317470" defTabSz="914400">
              <a:spcBef>
                <a:spcPts val="600"/>
              </a:spcBef>
              <a:buSzPct val="90000"/>
              <a:buBlip>
                <a:blip r:embed="rId4"/>
              </a:buBlip>
              <a:defRPr/>
            </a:pPr>
            <a:r>
              <a:rPr lang="pl-PL" sz="1600" b="1" dirty="0" err="1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Key</a:t>
            </a:r>
            <a:r>
              <a:rPr lang="pl-PL" sz="1600" b="1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 learning </a:t>
            </a:r>
            <a:r>
              <a:rPr lang="pl-PL" sz="1600" b="1" dirty="0" err="1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points</a:t>
            </a:r>
            <a:r>
              <a:rPr lang="pl-PL" sz="1600" b="1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:</a:t>
            </a:r>
          </a:p>
          <a:p>
            <a:pPr marL="790216" lvl="2" indent="-317470" defTabSz="914400">
              <a:spcBef>
                <a:spcPts val="600"/>
              </a:spcBef>
              <a:buSzPct val="90000"/>
              <a:buBlip>
                <a:blip r:embed="rId4"/>
              </a:buBlip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Network segmentation can be a blessing or a curse</a:t>
            </a:r>
          </a:p>
          <a:p>
            <a:pPr marL="790216" lvl="2" indent="-317470" defTabSz="914400">
              <a:spcBef>
                <a:spcPts val="600"/>
              </a:spcBef>
              <a:buSzPct val="90000"/>
              <a:buBlip>
                <a:blip r:embed="rId4"/>
              </a:buBlip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Greater control over who has access to what</a:t>
            </a:r>
          </a:p>
          <a:p>
            <a:pPr marL="790216" lvl="2" indent="-317470" defTabSz="914400">
              <a:spcBef>
                <a:spcPts val="600"/>
              </a:spcBef>
              <a:buSzPct val="90000"/>
              <a:buBlip>
                <a:blip r:embed="rId4"/>
              </a:buBlip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Allows rules to be set to limit traffic</a:t>
            </a:r>
          </a:p>
          <a:p>
            <a:pPr marL="790216" lvl="2" indent="-317470" defTabSz="914400">
              <a:spcBef>
                <a:spcPts val="600"/>
              </a:spcBef>
              <a:buSzPct val="90000"/>
              <a:buBlip>
                <a:blip r:embed="rId4"/>
              </a:buBlip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Allows exposure to security incidents to be reduced </a:t>
            </a:r>
          </a:p>
          <a:p>
            <a:pPr marL="790216" lvl="2" indent="-317470" defTabSz="914400">
              <a:spcBef>
                <a:spcPts val="600"/>
              </a:spcBef>
              <a:buSzPct val="90000"/>
              <a:buBlip>
                <a:blip r:embed="rId4"/>
              </a:buBlip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Performance: allows Broadcast Domains to be reduced so that broadcasts do not spread on the entire network</a:t>
            </a:r>
          </a:p>
          <a:p>
            <a:pPr marL="790216" lvl="2" indent="-317470" defTabSz="914400">
              <a:spcBef>
                <a:spcPts val="600"/>
              </a:spcBef>
              <a:buSzPct val="90000"/>
              <a:buBlip>
                <a:blip r:embed="rId4"/>
              </a:buBlip>
              <a:defRPr/>
            </a:pPr>
            <a:endParaRPr lang="en-US" sz="1700" dirty="0">
              <a:gradFill>
                <a:gsLst>
                  <a:gs pos="0">
                    <a:srgbClr val="FFFFFF"/>
                  </a:gs>
                  <a:gs pos="99000">
                    <a:srgbClr val="FFFFFF"/>
                  </a:gs>
                </a:gsLst>
                <a:lin ang="5400000" scaled="1"/>
              </a:gradFill>
              <a:latin typeface="IBM Plex Sans" panose="020B0503050203000203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DDD4C20-2111-9236-8830-27792BE593F6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860032" y="801797"/>
            <a:ext cx="4153218" cy="3850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03887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884D50-B1ED-BA4C-255F-7CB2B0C1332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Demo: VPN Pivoting</a:t>
            </a:r>
          </a:p>
        </p:txBody>
      </p:sp>
    </p:spTree>
    <p:extLst>
      <p:ext uri="{BB962C8B-B14F-4D97-AF65-F5344CB8AC3E}">
        <p14:creationId xmlns:p14="http://schemas.microsoft.com/office/powerpoint/2010/main" val="316286735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FC295F90-250D-4D04-9053-D338CABF663C}"/>
              </a:ext>
            </a:extLst>
          </p:cNvPr>
          <p:cNvSpPr/>
          <p:nvPr/>
        </p:nvSpPr>
        <p:spPr>
          <a:xfrm>
            <a:off x="203178" y="802305"/>
            <a:ext cx="4513258" cy="3743097"/>
          </a:xfrm>
          <a:prstGeom prst="rect">
            <a:avLst/>
          </a:prstGeom>
          <a:solidFill>
            <a:srgbClr val="FDBA12"/>
          </a:solidFill>
          <a:ln>
            <a:solidFill>
              <a:srgbClr val="FDBA1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Segoe UI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  <p:custDataLst>
              <p:tags r:id="rId1"/>
            </p:custDataLst>
          </p:nvPr>
        </p:nvSpPr>
        <p:spPr>
          <a:xfrm>
            <a:off x="380440" y="104356"/>
            <a:ext cx="8229600" cy="914400"/>
          </a:xfrm>
        </p:spPr>
        <p:txBody>
          <a:bodyPr>
            <a:noAutofit/>
          </a:bodyPr>
          <a:lstStyle/>
          <a:p>
            <a:r>
              <a:rPr lang="en-US" b="1" dirty="0">
                <a:solidFill>
                  <a:srgbClr val="FDBA12"/>
                </a:solidFill>
              </a:rPr>
              <a:t>#3B </a:t>
            </a:r>
            <a:r>
              <a:rPr lang="en-US" b="1" dirty="0"/>
              <a:t>Server Message Block Signing </a:t>
            </a:r>
            <a:r>
              <a:rPr lang="en-US" sz="1400" b="1" dirty="0"/>
              <a:t>(or alternative) </a:t>
            </a:r>
          </a:p>
        </p:txBody>
      </p:sp>
      <p:sp>
        <p:nvSpPr>
          <p:cNvPr id="16" name="Rectangle 15"/>
          <p:cNvSpPr/>
          <p:nvPr/>
        </p:nvSpPr>
        <p:spPr bwMode="auto">
          <a:xfrm>
            <a:off x="203178" y="802305"/>
            <a:ext cx="4513258" cy="3435320"/>
          </a:xfrm>
          <a:prstGeom prst="rect">
            <a:avLst/>
          </a:prstGeom>
          <a:solidFill>
            <a:srgbClr val="FDBA1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201695" tIns="100848" rIns="67229" bIns="100848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333032" lvl="1" indent="-317470" defTabSz="914400">
              <a:spcBef>
                <a:spcPts val="600"/>
              </a:spcBef>
              <a:buSzPct val="90000"/>
              <a:buBlip>
                <a:blip r:embed="rId4"/>
              </a:buBlip>
              <a:defRPr/>
            </a:pPr>
            <a:r>
              <a:rPr lang="pl-PL" sz="1400" b="1" dirty="0" err="1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Key</a:t>
            </a:r>
            <a:r>
              <a:rPr lang="pl-PL" sz="1400" b="1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 learning </a:t>
            </a:r>
            <a:r>
              <a:rPr lang="pl-PL" sz="1400" b="1" dirty="0" err="1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points</a:t>
            </a:r>
            <a:r>
              <a:rPr lang="pl-PL" sz="1400" b="1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:</a:t>
            </a:r>
          </a:p>
          <a:p>
            <a:pPr marL="790216" lvl="2" indent="-317470" defTabSz="914400">
              <a:spcBef>
                <a:spcPts val="600"/>
              </a:spcBef>
              <a:buSzPct val="90000"/>
              <a:buBlip>
                <a:blip r:embed="rId4"/>
              </a:buBlip>
              <a:defRPr/>
            </a:pPr>
            <a:r>
              <a:rPr lang="en-US" sz="1200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Set Service Principal Names (SPN) for services to avoid NT LAN Manager (NTLM):</a:t>
            </a:r>
          </a:p>
          <a:p>
            <a:pPr marL="790216" lvl="2" indent="-317470" defTabSz="914400">
              <a:spcBef>
                <a:spcPts val="600"/>
              </a:spcBef>
              <a:buSzPct val="90000"/>
              <a:buBlip>
                <a:blip r:embed="rId4"/>
              </a:buBlip>
              <a:defRPr/>
            </a:pPr>
            <a:r>
              <a:rPr lang="en-US" sz="1200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Reconsider using Kerberos authentication all over</a:t>
            </a:r>
          </a:p>
          <a:p>
            <a:pPr marL="790216" lvl="2" indent="-317470" defTabSz="914400">
              <a:spcBef>
                <a:spcPts val="600"/>
              </a:spcBef>
              <a:buSzPct val="90000"/>
              <a:buBlip>
                <a:blip r:embed="rId4"/>
              </a:buBlip>
              <a:defRPr/>
            </a:pPr>
            <a:r>
              <a:rPr lang="en-US" sz="1200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https://technet.microsoft.com/en-us/library/jj865668.aspx</a:t>
            </a:r>
          </a:p>
          <a:p>
            <a:pPr marL="790216" lvl="2" indent="-317470" defTabSz="914400">
              <a:spcBef>
                <a:spcPts val="600"/>
              </a:spcBef>
              <a:buSzPct val="90000"/>
              <a:buBlip>
                <a:blip r:embed="rId4"/>
              </a:buBlip>
              <a:defRPr/>
            </a:pPr>
            <a:r>
              <a:rPr lang="en-US" sz="1200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Require SPN target name validation</a:t>
            </a:r>
          </a:p>
          <a:p>
            <a:pPr marL="790216" lvl="2" indent="-317470" defTabSz="914400">
              <a:spcBef>
                <a:spcPts val="600"/>
              </a:spcBef>
              <a:buSzPct val="90000"/>
              <a:buBlip>
                <a:blip r:embed="rId4"/>
              </a:buBlip>
              <a:defRPr/>
            </a:pPr>
            <a:r>
              <a:rPr lang="en-US" sz="1200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Microsoft network server: Server SPN target name validation level</a:t>
            </a:r>
          </a:p>
          <a:p>
            <a:pPr marL="790216" lvl="2" indent="-317470" defTabSz="914400">
              <a:spcBef>
                <a:spcPts val="600"/>
              </a:spcBef>
              <a:buSzPct val="90000"/>
              <a:buBlip>
                <a:blip r:embed="rId4"/>
              </a:buBlip>
              <a:defRPr/>
            </a:pPr>
            <a:r>
              <a:rPr lang="en-US" sz="1200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Reconsider turning on SMB Signing</a:t>
            </a:r>
          </a:p>
          <a:p>
            <a:pPr marL="790216" lvl="2" indent="-317470" defTabSz="914400">
              <a:spcBef>
                <a:spcPts val="600"/>
              </a:spcBef>
              <a:buSzPct val="90000"/>
              <a:buBlip>
                <a:blip r:embed="rId4"/>
              </a:buBlip>
              <a:defRPr/>
            </a:pPr>
            <a:r>
              <a:rPr lang="en-US" sz="1200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Reconsider port filtering</a:t>
            </a:r>
          </a:p>
          <a:p>
            <a:pPr marL="790216" lvl="2" indent="-317470" defTabSz="914400">
              <a:spcBef>
                <a:spcPts val="600"/>
              </a:spcBef>
              <a:buSzPct val="90000"/>
              <a:buBlip>
                <a:blip r:embed="rId4"/>
              </a:buBlip>
              <a:defRPr/>
            </a:pPr>
            <a:r>
              <a:rPr lang="en-US" sz="1200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Reconsider code execution prevention but do not forget that this attack leverages administrative account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7365D6C-F69B-E0B9-ECFB-01770FEEF85F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38"/>
          <a:stretch/>
        </p:blipFill>
        <p:spPr>
          <a:xfrm>
            <a:off x="4912274" y="802305"/>
            <a:ext cx="4064143" cy="3743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76778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828355-3AB6-AF75-03E6-DE64BA108AB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#4 Whitelisting</a:t>
            </a:r>
          </a:p>
        </p:txBody>
      </p:sp>
    </p:spTree>
    <p:extLst>
      <p:ext uri="{BB962C8B-B14F-4D97-AF65-F5344CB8AC3E}">
        <p14:creationId xmlns:p14="http://schemas.microsoft.com/office/powerpoint/2010/main" val="221166742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D26A087-3E1B-4C58-8C87-02F1AD5F6C6F}"/>
              </a:ext>
            </a:extLst>
          </p:cNvPr>
          <p:cNvSpPr/>
          <p:nvPr/>
        </p:nvSpPr>
        <p:spPr>
          <a:xfrm>
            <a:off x="380440" y="1186397"/>
            <a:ext cx="4614863" cy="3322277"/>
          </a:xfrm>
          <a:prstGeom prst="rect">
            <a:avLst/>
          </a:prstGeom>
          <a:solidFill>
            <a:srgbClr val="FDBA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Segoe UI Light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C1FE156-3E97-4B7E-BAE7-A5F79E996183}"/>
              </a:ext>
            </a:extLst>
          </p:cNvPr>
          <p:cNvSpPr/>
          <p:nvPr/>
        </p:nvSpPr>
        <p:spPr bwMode="auto">
          <a:xfrm>
            <a:off x="380440" y="1332172"/>
            <a:ext cx="4614863" cy="3050599"/>
          </a:xfrm>
          <a:prstGeom prst="rect">
            <a:avLst/>
          </a:prstGeom>
          <a:solidFill>
            <a:srgbClr val="FDBA1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201695" tIns="100848" rIns="67229" bIns="100848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249774" lvl="1" indent="-238103" defTabSz="685800">
              <a:spcBef>
                <a:spcPts val="450"/>
              </a:spcBef>
              <a:buSzPct val="90000"/>
              <a:buBlip>
                <a:blip r:embed="rId3"/>
              </a:buBlip>
              <a:defRPr/>
            </a:pPr>
            <a:r>
              <a:rPr lang="pl-PL" sz="1600" b="1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Key learning points:</a:t>
            </a:r>
            <a:endParaRPr lang="en-US" sz="1600" b="1" dirty="0">
              <a:gradFill>
                <a:gsLst>
                  <a:gs pos="0">
                    <a:srgbClr val="FFFFFF"/>
                  </a:gs>
                  <a:gs pos="99000">
                    <a:srgbClr val="FFFFFF"/>
                  </a:gs>
                </a:gsLst>
                <a:lin ang="5400000" scaled="1"/>
              </a:gradFill>
              <a:latin typeface="IBM Plex Sans" panose="020B0503050203000203" pitchFamily="34" charset="0"/>
            </a:endParaRPr>
          </a:p>
          <a:p>
            <a:pPr marL="592662" lvl="2" indent="-238103" defTabSz="685800">
              <a:spcBef>
                <a:spcPts val="450"/>
              </a:spcBef>
              <a:buSzPct val="90000"/>
              <a:buBlip>
                <a:blip r:embed="rId3"/>
              </a:buBlip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Common file formats containing malware are:</a:t>
            </a:r>
          </a:p>
          <a:p>
            <a:pPr marL="592662" lvl="2" indent="-238103" defTabSz="685800">
              <a:spcBef>
                <a:spcPts val="450"/>
              </a:spcBef>
              <a:buSzPct val="90000"/>
              <a:buBlip>
                <a:blip r:embed="rId3"/>
              </a:buBlip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.exe (Executables, GUI, CUI, and all variants like SCR, CPL etc</a:t>
            </a:r>
            <a:r>
              <a:rPr lang="pl-PL" sz="1600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.</a:t>
            </a:r>
            <a:r>
              <a:rPr lang="en-US" sz="1600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)</a:t>
            </a:r>
          </a:p>
          <a:p>
            <a:pPr marL="592662" lvl="2" indent="-238103" defTabSz="685800">
              <a:spcBef>
                <a:spcPts val="450"/>
              </a:spcBef>
              <a:buSzPct val="90000"/>
              <a:buBlip>
                <a:blip r:embed="rId3"/>
              </a:buBlip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.dll (Dynamic Link Libraries)</a:t>
            </a:r>
          </a:p>
          <a:p>
            <a:pPr marL="592662" lvl="2" indent="-238103" defTabSz="685800">
              <a:spcBef>
                <a:spcPts val="450"/>
              </a:spcBef>
              <a:buSzPct val="90000"/>
              <a:buBlip>
                <a:blip r:embed="rId3"/>
              </a:buBlip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.vbs (Script files like JS, JSE, VBS, VBE, PS1, PS2, CHM, BAT, COM, CMD etc</a:t>
            </a:r>
            <a:r>
              <a:rPr lang="pl-PL" sz="1600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.</a:t>
            </a:r>
            <a:r>
              <a:rPr lang="en-US" sz="1600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)</a:t>
            </a:r>
          </a:p>
          <a:p>
            <a:pPr marL="592662" lvl="2" indent="-238103" defTabSz="685800">
              <a:spcBef>
                <a:spcPts val="450"/>
              </a:spcBef>
              <a:buSzPct val="90000"/>
              <a:buBlip>
                <a:blip r:embed="rId3"/>
              </a:buBlip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.docm, .xlsm etc. (Office Macro files)</a:t>
            </a:r>
          </a:p>
          <a:p>
            <a:pPr marL="592662" lvl="2" indent="-238103" defTabSz="685800">
              <a:spcBef>
                <a:spcPts val="450"/>
              </a:spcBef>
              <a:buSzPct val="90000"/>
              <a:buBlip>
                <a:blip r:embed="rId3"/>
              </a:buBlip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.other (LNK, PDF, PIF, etc.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6EB4E5-37C7-4F6F-BCC4-13E55E740C4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76932" y="177625"/>
            <a:ext cx="8229600" cy="914400"/>
          </a:xfrm>
        </p:spPr>
        <p:txBody>
          <a:bodyPr>
            <a:normAutofit/>
          </a:bodyPr>
          <a:lstStyle/>
          <a:p>
            <a:r>
              <a:rPr lang="en-US" b="1" dirty="0">
                <a:solidFill>
                  <a:srgbClr val="FDBA12"/>
                </a:solidFill>
              </a:rPr>
              <a:t>#4A </a:t>
            </a:r>
            <a:r>
              <a:rPr lang="en-US" b="1" dirty="0"/>
              <a:t>Disallowing unusual code execution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4F8655D-18A2-468B-AD2B-515401B75BC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3030" r="23044" b="4945"/>
          <a:stretch/>
        </p:blipFill>
        <p:spPr>
          <a:xfrm>
            <a:off x="5095189" y="1186398"/>
            <a:ext cx="3401111" cy="3322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84412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FC5DAF-8F57-46B2-9F41-B03F489CBDD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aula Januszkiewicz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944984C-634C-4ED0-B981-94C45DEC128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39552" y="2931790"/>
            <a:ext cx="8064896" cy="864095"/>
          </a:xfrm>
        </p:spPr>
        <p:txBody>
          <a:bodyPr>
            <a:normAutofit/>
          </a:bodyPr>
          <a:lstStyle/>
          <a:p>
            <a:r>
              <a:rPr lang="en-US" sz="2000" dirty="0"/>
              <a:t>Hackers’ Perspective on Remote Working:</a:t>
            </a:r>
          </a:p>
          <a:p>
            <a:r>
              <a:rPr lang="en-US" sz="2000" dirty="0"/>
              <a:t>Know the Risks, Fight the Tricks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42055230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D26A087-3E1B-4C58-8C87-02F1AD5F6C6F}"/>
              </a:ext>
            </a:extLst>
          </p:cNvPr>
          <p:cNvSpPr/>
          <p:nvPr/>
        </p:nvSpPr>
        <p:spPr>
          <a:xfrm>
            <a:off x="380440" y="1186397"/>
            <a:ext cx="4614863" cy="3508801"/>
          </a:xfrm>
          <a:prstGeom prst="rect">
            <a:avLst/>
          </a:prstGeom>
          <a:solidFill>
            <a:srgbClr val="FDBA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Segoe UI Light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C1FE156-3E97-4B7E-BAE7-A5F79E996183}"/>
              </a:ext>
            </a:extLst>
          </p:cNvPr>
          <p:cNvSpPr/>
          <p:nvPr/>
        </p:nvSpPr>
        <p:spPr bwMode="auto">
          <a:xfrm>
            <a:off x="380440" y="1283366"/>
            <a:ext cx="4614864" cy="3232700"/>
          </a:xfrm>
          <a:prstGeom prst="rect">
            <a:avLst/>
          </a:prstGeom>
          <a:solidFill>
            <a:srgbClr val="FDBA1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201695" tIns="100848" rIns="67229" bIns="100848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249774" lvl="1" indent="-238103" defTabSz="685800">
              <a:spcBef>
                <a:spcPts val="450"/>
              </a:spcBef>
              <a:buSzPct val="90000"/>
              <a:buBlip>
                <a:blip r:embed="rId3"/>
              </a:buBlip>
              <a:defRPr/>
            </a:pPr>
            <a:r>
              <a:rPr lang="pl-PL" sz="1600" b="1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Key learning points:</a:t>
            </a:r>
          </a:p>
          <a:p>
            <a:pPr marL="592674" lvl="2" indent="-238103" defTabSz="685800">
              <a:spcBef>
                <a:spcPts val="450"/>
              </a:spcBef>
              <a:buSzPct val="90000"/>
              <a:buBlip>
                <a:blip r:embed="rId3"/>
              </a:buBlip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Code execution prevention implementation is a must</a:t>
            </a:r>
          </a:p>
          <a:p>
            <a:pPr marL="592662" lvl="2" indent="-238103" defTabSz="685800">
              <a:spcBef>
                <a:spcPts val="450"/>
              </a:spcBef>
              <a:buSzPct val="90000"/>
              <a:buBlip>
                <a:blip r:embed="rId3"/>
              </a:buBlip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PowerShell is an ultimate hacking tool, possible solutions: block it for users, use Just Enough Administration etc. </a:t>
            </a:r>
          </a:p>
          <a:p>
            <a:pPr marL="592662" lvl="2" indent="-238103" defTabSz="685800">
              <a:spcBef>
                <a:spcPts val="450"/>
              </a:spcBef>
              <a:buSzPct val="90000"/>
              <a:buBlip>
                <a:blip r:embed="rId3"/>
              </a:buBlip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Verify where users have write access to: accesschk.exe –w .\users c:\windows </a:t>
            </a:r>
          </a:p>
          <a:p>
            <a:pPr marL="592662" lvl="2" indent="-238103" defTabSz="685800">
              <a:spcBef>
                <a:spcPts val="450"/>
              </a:spcBef>
              <a:buSzPct val="90000"/>
              <a:buBlip>
                <a:blip r:embed="rId3"/>
              </a:buBlip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AppLocker can run in the audit mode </a:t>
            </a:r>
          </a:p>
          <a:p>
            <a:pPr marL="592662" lvl="2" indent="-238103" defTabSz="685800">
              <a:spcBef>
                <a:spcPts val="450"/>
              </a:spcBef>
              <a:buSzPct val="90000"/>
              <a:buBlip>
                <a:blip r:embed="rId3"/>
              </a:buBlip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AppLocker is great but not with the default configurati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6037DC8-BA0B-4A9B-A418-C6055C268FE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4510"/>
          <a:stretch/>
        </p:blipFill>
        <p:spPr>
          <a:xfrm>
            <a:off x="5112292" y="1192467"/>
            <a:ext cx="3652130" cy="350273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E6EB4E5-37C7-4F6F-BCC4-13E55E740C4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56982" y="177626"/>
            <a:ext cx="8229600" cy="914400"/>
          </a:xfrm>
        </p:spPr>
        <p:txBody>
          <a:bodyPr>
            <a:normAutofit/>
          </a:bodyPr>
          <a:lstStyle/>
          <a:p>
            <a:r>
              <a:rPr lang="en-US" b="1" dirty="0">
                <a:solidFill>
                  <a:srgbClr val="FDBA12"/>
                </a:solidFill>
              </a:rPr>
              <a:t>#4B </a:t>
            </a:r>
            <a:r>
              <a:rPr lang="en-US" b="1" dirty="0"/>
              <a:t>Whitelisting on board </a:t>
            </a:r>
          </a:p>
        </p:txBody>
      </p:sp>
    </p:spTree>
    <p:extLst>
      <p:ext uri="{BB962C8B-B14F-4D97-AF65-F5344CB8AC3E}">
        <p14:creationId xmlns:p14="http://schemas.microsoft.com/office/powerpoint/2010/main" val="17176777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828355-3AB6-AF75-03E6-DE64BA108AB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#5 Configuration Audit</a:t>
            </a:r>
          </a:p>
        </p:txBody>
      </p:sp>
    </p:spTree>
    <p:extLst>
      <p:ext uri="{BB962C8B-B14F-4D97-AF65-F5344CB8AC3E}">
        <p14:creationId xmlns:p14="http://schemas.microsoft.com/office/powerpoint/2010/main" val="16171509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D26A087-3E1B-4C58-8C87-02F1AD5F6C6F}"/>
              </a:ext>
            </a:extLst>
          </p:cNvPr>
          <p:cNvSpPr/>
          <p:nvPr/>
        </p:nvSpPr>
        <p:spPr>
          <a:xfrm>
            <a:off x="380440" y="1186398"/>
            <a:ext cx="4614863" cy="3089408"/>
          </a:xfrm>
          <a:prstGeom prst="rect">
            <a:avLst/>
          </a:prstGeom>
          <a:solidFill>
            <a:srgbClr val="FDBA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Segoe UI Light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C1FE156-3E97-4B7E-BAE7-A5F79E996183}"/>
              </a:ext>
            </a:extLst>
          </p:cNvPr>
          <p:cNvSpPr/>
          <p:nvPr/>
        </p:nvSpPr>
        <p:spPr bwMode="auto">
          <a:xfrm>
            <a:off x="386354" y="1166537"/>
            <a:ext cx="4614863" cy="3109269"/>
          </a:xfrm>
          <a:prstGeom prst="rect">
            <a:avLst/>
          </a:prstGeom>
          <a:solidFill>
            <a:srgbClr val="FDBA1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201695" tIns="100848" rIns="67229" bIns="100848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249774" lvl="1" indent="-238103" defTabSz="685800">
              <a:spcBef>
                <a:spcPts val="450"/>
              </a:spcBef>
              <a:buSzPct val="90000"/>
              <a:buBlip>
                <a:blip r:embed="rId3"/>
              </a:buBlip>
              <a:defRPr/>
            </a:pPr>
            <a:r>
              <a:rPr lang="pl-PL" sz="1765" b="1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Key learning points:</a:t>
            </a:r>
          </a:p>
          <a:p>
            <a:pPr marL="592674" lvl="2" indent="-238103" defTabSz="685800">
              <a:spcBef>
                <a:spcPts val="450"/>
              </a:spcBef>
              <a:buSzPct val="90000"/>
              <a:buBlip>
                <a:blip r:embed="rId3"/>
              </a:buBlip>
              <a:defRPr/>
            </a:pPr>
            <a:r>
              <a:rPr lang="en-US" sz="1763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SNMPv3 addresses: user-based system for access control, a means to properly authenticate users, and a method for encrypting SNMP traffic between agent and host</a:t>
            </a:r>
          </a:p>
          <a:p>
            <a:pPr marL="592674" lvl="2" indent="-238103" defTabSz="685800">
              <a:spcBef>
                <a:spcPts val="450"/>
              </a:spcBef>
              <a:buSzPct val="90000"/>
              <a:buBlip>
                <a:blip r:embed="rId3"/>
              </a:buBlip>
              <a:defRPr/>
            </a:pPr>
            <a:r>
              <a:rPr lang="en-US" sz="1763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SQL issues – TDS provides by default lack of encryption</a:t>
            </a:r>
          </a:p>
          <a:p>
            <a:pPr marL="592674" lvl="2" indent="-238103" defTabSz="685800">
              <a:spcBef>
                <a:spcPts val="450"/>
              </a:spcBef>
              <a:buSzPct val="90000"/>
              <a:buBlip>
                <a:blip r:embed="rId3"/>
              </a:buBlip>
              <a:defRPr/>
            </a:pPr>
            <a:r>
              <a:rPr lang="en-US" sz="1763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ODBC Driver – check if it has a secure networking layer built into i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6EB4E5-37C7-4F6F-BCC4-13E55E740C4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59030" y="174611"/>
            <a:ext cx="8229600" cy="914400"/>
          </a:xfrm>
        </p:spPr>
        <p:txBody>
          <a:bodyPr>
            <a:noAutofit/>
          </a:bodyPr>
          <a:lstStyle/>
          <a:p>
            <a:r>
              <a:rPr lang="en-US" b="1" dirty="0">
                <a:solidFill>
                  <a:srgbClr val="FDBA12"/>
                </a:solidFill>
              </a:rPr>
              <a:t>#5A </a:t>
            </a:r>
            <a:r>
              <a:rPr lang="en-US" b="1" dirty="0"/>
              <a:t>Decommission of o</a:t>
            </a:r>
            <a:r>
              <a:rPr lang="pl-PL" b="1" dirty="0" err="1"/>
              <a:t>ld</a:t>
            </a:r>
            <a:r>
              <a:rPr lang="pl-PL" b="1" dirty="0"/>
              <a:t> protocols or their default settings</a:t>
            </a:r>
            <a:endParaRPr lang="en-US" b="1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6DCCB77-03AE-452E-9433-B1E01D07BCF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7510" r="3688" b="2920"/>
          <a:stretch/>
        </p:blipFill>
        <p:spPr>
          <a:xfrm>
            <a:off x="5112291" y="1186397"/>
            <a:ext cx="3490689" cy="3325292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4D5A416-5660-4E70-AFFF-3C0A86B31D4C}"/>
              </a:ext>
            </a:extLst>
          </p:cNvPr>
          <p:cNvSpPr/>
          <p:nvPr/>
        </p:nvSpPr>
        <p:spPr>
          <a:xfrm>
            <a:off x="380440" y="4186238"/>
            <a:ext cx="4619263" cy="334143"/>
          </a:xfrm>
          <a:prstGeom prst="rect">
            <a:avLst/>
          </a:prstGeom>
          <a:solidFill>
            <a:srgbClr val="FDBA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srgbClr val="FFFFFF"/>
              </a:solidFill>
              <a:latin typeface="Segoe UI Light"/>
            </a:endParaRPr>
          </a:p>
        </p:txBody>
      </p:sp>
    </p:spTree>
    <p:extLst>
      <p:ext uri="{BB962C8B-B14F-4D97-AF65-F5344CB8AC3E}">
        <p14:creationId xmlns:p14="http://schemas.microsoft.com/office/powerpoint/2010/main" val="19252953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884D50-B1ED-BA4C-255F-7CB2B0C1332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Demo: Clear Text Queries</a:t>
            </a:r>
          </a:p>
        </p:txBody>
      </p:sp>
    </p:spTree>
    <p:extLst>
      <p:ext uri="{BB962C8B-B14F-4D97-AF65-F5344CB8AC3E}">
        <p14:creationId xmlns:p14="http://schemas.microsoft.com/office/powerpoint/2010/main" val="170025314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D26A087-3E1B-4C58-8C87-02F1AD5F6C6F}"/>
              </a:ext>
            </a:extLst>
          </p:cNvPr>
          <p:cNvSpPr/>
          <p:nvPr/>
        </p:nvSpPr>
        <p:spPr>
          <a:xfrm>
            <a:off x="380440" y="1167136"/>
            <a:ext cx="4614863" cy="3491489"/>
          </a:xfrm>
          <a:prstGeom prst="rect">
            <a:avLst/>
          </a:prstGeom>
          <a:solidFill>
            <a:srgbClr val="FDBA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Segoe UI Light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C1FE156-3E97-4B7E-BAE7-A5F79E996183}"/>
              </a:ext>
            </a:extLst>
          </p:cNvPr>
          <p:cNvSpPr/>
          <p:nvPr/>
        </p:nvSpPr>
        <p:spPr bwMode="auto">
          <a:xfrm>
            <a:off x="373484" y="1173076"/>
            <a:ext cx="4614863" cy="3491489"/>
          </a:xfrm>
          <a:prstGeom prst="rect">
            <a:avLst/>
          </a:prstGeom>
          <a:solidFill>
            <a:srgbClr val="FDBA1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201695" tIns="100848" rIns="67229" bIns="100848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249774" lvl="1" indent="-238103" defTabSz="685800">
              <a:spcBef>
                <a:spcPts val="450"/>
              </a:spcBef>
              <a:buSzPct val="90000"/>
              <a:buBlip>
                <a:blip r:embed="rId3"/>
              </a:buBlip>
              <a:defRPr/>
            </a:pPr>
            <a:r>
              <a:rPr lang="pl-PL" sz="1400" b="1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Key learning points:</a:t>
            </a:r>
          </a:p>
          <a:p>
            <a:pPr marL="592674" lvl="2" indent="-238103" defTabSz="685800">
              <a:spcBef>
                <a:spcPts val="450"/>
              </a:spcBef>
              <a:buSzPct val="90000"/>
              <a:buBlip>
                <a:blip r:embed="rId3"/>
              </a:buBlip>
              <a:defRPr/>
            </a:pPr>
            <a:r>
              <a:rPr lang="en-US" sz="1400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The best operators won't use a component until they know how it breaks.</a:t>
            </a:r>
          </a:p>
          <a:p>
            <a:pPr marL="592674" lvl="2" indent="-238103" defTabSz="685800">
              <a:spcBef>
                <a:spcPts val="450"/>
              </a:spcBef>
              <a:buSzPct val="90000"/>
              <a:buBlip>
                <a:blip r:embed="rId3"/>
              </a:buBlip>
              <a:defRPr/>
            </a:pPr>
            <a:r>
              <a:rPr lang="en-US" sz="1400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Almost each solution has some ‘backdoor weakness’ </a:t>
            </a:r>
          </a:p>
          <a:p>
            <a:pPr marL="592674" lvl="2" indent="-238103" defTabSz="685800">
              <a:spcBef>
                <a:spcPts val="450"/>
              </a:spcBef>
              <a:buSzPct val="90000"/>
              <a:buBlip>
                <a:blip r:embed="rId3"/>
              </a:buBlip>
              <a:defRPr/>
            </a:pPr>
            <a:r>
              <a:rPr lang="en-US" sz="1400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Some antivirus solutions can be stopped by SDDL modification for their services</a:t>
            </a:r>
          </a:p>
          <a:p>
            <a:pPr marL="592674" lvl="2" indent="-238103" defTabSz="685800">
              <a:spcBef>
                <a:spcPts val="450"/>
              </a:spcBef>
              <a:buSzPct val="90000"/>
              <a:buBlip>
                <a:blip r:embed="rId3"/>
              </a:buBlip>
              <a:defRPr/>
            </a:pPr>
            <a:r>
              <a:rPr lang="en-US" sz="1400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Configuration can be monitored by Desired State Configuration (DSC)</a:t>
            </a:r>
          </a:p>
          <a:p>
            <a:pPr marL="592674" lvl="2" indent="-238103" defTabSz="685800">
              <a:spcBef>
                <a:spcPts val="450"/>
              </a:spcBef>
              <a:buSzPct val="90000"/>
              <a:buBlip>
                <a:blip r:embed="rId3"/>
              </a:buBlip>
              <a:defRPr/>
            </a:pPr>
            <a:r>
              <a:rPr lang="en-US" sz="1400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DSC if not configured properly will not be able to spot internal service configuration changes</a:t>
            </a:r>
          </a:p>
          <a:p>
            <a:pPr marL="592674" lvl="2" indent="-238103" defTabSz="685800">
              <a:spcBef>
                <a:spcPts val="450"/>
              </a:spcBef>
              <a:buSzPct val="90000"/>
              <a:buBlip>
                <a:blip r:embed="rId3"/>
              </a:buBlip>
              <a:defRPr/>
            </a:pPr>
            <a:r>
              <a:rPr lang="en-US" sz="1400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Example: How do I get to the password management portal?</a:t>
            </a:r>
          </a:p>
        </p:txBody>
      </p:sp>
      <p:pic>
        <p:nvPicPr>
          <p:cNvPr id="6" name="Picture 2" descr="Image result for animal night">
            <a:extLst>
              <a:ext uri="{FF2B5EF4-FFF2-40B4-BE49-F238E27FC236}">
                <a16:creationId xmlns:a16="http://schemas.microsoft.com/office/drawing/2014/main" id="{46E7CE27-7D8D-4420-BBC1-C6210A7F855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85" t="10297" r="15621"/>
          <a:stretch/>
        </p:blipFill>
        <p:spPr bwMode="auto">
          <a:xfrm>
            <a:off x="5112291" y="1186395"/>
            <a:ext cx="3490689" cy="34722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E6EB4E5-37C7-4F6F-BCC4-13E55E740C4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80440" y="177713"/>
            <a:ext cx="8961437" cy="995363"/>
          </a:xfrm>
        </p:spPr>
        <p:txBody>
          <a:bodyPr>
            <a:noAutofit/>
          </a:bodyPr>
          <a:lstStyle/>
          <a:p>
            <a:r>
              <a:rPr lang="en-US" b="1" dirty="0">
                <a:solidFill>
                  <a:srgbClr val="FDBA12"/>
                </a:solidFill>
              </a:rPr>
              <a:t>#5B </a:t>
            </a:r>
            <a:r>
              <a:rPr lang="en-US" b="1" dirty="0"/>
              <a:t>Review of the solutions that we trust </a:t>
            </a:r>
            <a:br>
              <a:rPr lang="en-US" b="1" dirty="0"/>
            </a:br>
            <a:r>
              <a:rPr lang="en-US" b="1" dirty="0"/>
              <a:t>by default</a:t>
            </a:r>
          </a:p>
        </p:txBody>
      </p:sp>
    </p:spTree>
    <p:extLst>
      <p:ext uri="{BB962C8B-B14F-4D97-AF65-F5344CB8AC3E}">
        <p14:creationId xmlns:p14="http://schemas.microsoft.com/office/powerpoint/2010/main" val="20315292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884D50-B1ED-BA4C-255F-7CB2B0C1332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Demo: Common PKI Pitfalls</a:t>
            </a:r>
          </a:p>
        </p:txBody>
      </p:sp>
    </p:spTree>
    <p:extLst>
      <p:ext uri="{BB962C8B-B14F-4D97-AF65-F5344CB8AC3E}">
        <p14:creationId xmlns:p14="http://schemas.microsoft.com/office/powerpoint/2010/main" val="301063579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C1FE156-3E97-4B7E-BAE7-A5F79E996183}"/>
              </a:ext>
            </a:extLst>
          </p:cNvPr>
          <p:cNvSpPr/>
          <p:nvPr/>
        </p:nvSpPr>
        <p:spPr bwMode="auto">
          <a:xfrm>
            <a:off x="380440" y="1123482"/>
            <a:ext cx="4614863" cy="3540477"/>
          </a:xfrm>
          <a:prstGeom prst="rect">
            <a:avLst/>
          </a:prstGeom>
          <a:solidFill>
            <a:srgbClr val="FDBA1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201695" tIns="100848" rIns="67229" bIns="100848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249774" lvl="1" indent="-238103" defTabSz="685800">
              <a:spcBef>
                <a:spcPts val="450"/>
              </a:spcBef>
              <a:buSzPct val="90000"/>
              <a:buBlip>
                <a:blip r:embed="rId3"/>
              </a:buBlip>
              <a:defRPr/>
            </a:pPr>
            <a:r>
              <a:rPr lang="pl-PL" sz="1400" b="1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Key learning points:</a:t>
            </a:r>
          </a:p>
          <a:p>
            <a:pPr marL="592674" lvl="2" indent="-238103" defTabSz="685800">
              <a:spcBef>
                <a:spcPts val="450"/>
              </a:spcBef>
              <a:buSzPct val="90000"/>
              <a:buBlip>
                <a:blip r:embed="rId3"/>
              </a:buBlip>
              <a:defRPr/>
            </a:pPr>
            <a:r>
              <a:rPr lang="en-US" sz="1400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Personal data was involved in 58% of breaches in 2020 (Verizon)</a:t>
            </a:r>
          </a:p>
          <a:p>
            <a:pPr marL="592674" lvl="2" indent="-238103" defTabSz="685800">
              <a:spcBef>
                <a:spcPts val="450"/>
              </a:spcBef>
              <a:buSzPct val="90000"/>
              <a:buBlip>
                <a:blip r:embed="rId3"/>
              </a:buBlip>
              <a:defRPr/>
            </a:pPr>
            <a:r>
              <a:rPr lang="en-US" sz="1400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The average time to identify a breach in 2020 was 207 days (IBM)</a:t>
            </a:r>
          </a:p>
          <a:p>
            <a:pPr marL="592674" lvl="2" indent="-238103" defTabSz="685800">
              <a:spcBef>
                <a:spcPts val="450"/>
              </a:spcBef>
              <a:buSzPct val="90000"/>
              <a:buBlip>
                <a:blip r:embed="rId3"/>
              </a:buBlip>
              <a:defRPr/>
            </a:pPr>
            <a:r>
              <a:rPr lang="en-US" sz="1400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With increasing budget the risk of possessing hipster tools increases too – do we know where these tools come from and what are their security practices? </a:t>
            </a:r>
          </a:p>
          <a:p>
            <a:pPr marL="592674" lvl="2" indent="-238103" defTabSz="685800">
              <a:spcBef>
                <a:spcPts val="450"/>
              </a:spcBef>
              <a:buSzPct val="90000"/>
              <a:buBlip>
                <a:blip r:embed="rId3"/>
              </a:buBlip>
              <a:defRPr/>
            </a:pPr>
            <a:r>
              <a:rPr lang="en-US" sz="1400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Lots of solutions where not created according to the good security practices (backup software running as Domain Admin etc.)</a:t>
            </a:r>
          </a:p>
          <a:p>
            <a:pPr marL="592674" lvl="2" indent="-238103" defTabSz="685800">
              <a:spcBef>
                <a:spcPts val="450"/>
              </a:spcBef>
              <a:buSzPct val="90000"/>
              <a:buBlip>
                <a:blip r:embed="rId3"/>
              </a:buBlip>
              <a:defRPr/>
            </a:pPr>
            <a:r>
              <a:rPr lang="en-US" sz="1400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Each app running in the user’s context has access to secrets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6EB4E5-37C7-4F6F-BCC4-13E55E740C4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80440" y="163363"/>
            <a:ext cx="8961437" cy="995363"/>
          </a:xfrm>
        </p:spPr>
        <p:txBody>
          <a:bodyPr>
            <a:normAutofit/>
          </a:bodyPr>
          <a:lstStyle/>
          <a:p>
            <a:r>
              <a:rPr lang="en-US" b="1" dirty="0">
                <a:solidFill>
                  <a:srgbClr val="FDBA12"/>
                </a:solidFill>
              </a:rPr>
              <a:t>#5C </a:t>
            </a:r>
            <a:r>
              <a:rPr lang="en-US" b="1" dirty="0"/>
              <a:t>Do not fall for hipster tools </a:t>
            </a:r>
          </a:p>
        </p:txBody>
      </p:sp>
      <p:pic>
        <p:nvPicPr>
          <p:cNvPr id="6" name="Picture 5" descr="http://cdn.cavemancircus.com//wp-content/uploads/images/2014/october/cats_caught_red_handed/cats_caught_red_handed_11.jpg">
            <a:extLst>
              <a:ext uri="{FF2B5EF4-FFF2-40B4-BE49-F238E27FC236}">
                <a16:creationId xmlns:a16="http://schemas.microsoft.com/office/drawing/2014/main" id="{1736EED5-EF1B-4248-AEDE-817028801C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5618" y="1123482"/>
            <a:ext cx="3265410" cy="35404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940100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828355-3AB6-AF75-03E6-DE64BA108AB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#6 Connecting the dots</a:t>
            </a:r>
            <a:br>
              <a:rPr lang="en-US" dirty="0"/>
            </a:br>
            <a:r>
              <a:rPr lang="en-US" dirty="0"/>
              <a:t>(monitoring identity etc.)</a:t>
            </a:r>
          </a:p>
        </p:txBody>
      </p:sp>
    </p:spTree>
    <p:extLst>
      <p:ext uri="{BB962C8B-B14F-4D97-AF65-F5344CB8AC3E}">
        <p14:creationId xmlns:p14="http://schemas.microsoft.com/office/powerpoint/2010/main" val="86930510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D26A087-3E1B-4C58-8C87-02F1AD5F6C6F}"/>
              </a:ext>
            </a:extLst>
          </p:cNvPr>
          <p:cNvSpPr/>
          <p:nvPr/>
        </p:nvSpPr>
        <p:spPr>
          <a:xfrm>
            <a:off x="380440" y="1186397"/>
            <a:ext cx="4614863" cy="3322277"/>
          </a:xfrm>
          <a:prstGeom prst="rect">
            <a:avLst/>
          </a:prstGeom>
          <a:solidFill>
            <a:srgbClr val="FDBA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Segoe UI Light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C1FE156-3E97-4B7E-BAE7-A5F79E996183}"/>
              </a:ext>
            </a:extLst>
          </p:cNvPr>
          <p:cNvSpPr/>
          <p:nvPr/>
        </p:nvSpPr>
        <p:spPr bwMode="auto">
          <a:xfrm>
            <a:off x="380439" y="1186397"/>
            <a:ext cx="4614863" cy="2894146"/>
          </a:xfrm>
          <a:prstGeom prst="rect">
            <a:avLst/>
          </a:prstGeom>
          <a:solidFill>
            <a:srgbClr val="FDBA1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201695" tIns="100848" rIns="67229" bIns="100848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249774" lvl="1" indent="-238103" defTabSz="685800">
              <a:spcBef>
                <a:spcPts val="450"/>
              </a:spcBef>
              <a:buSzPct val="90000"/>
              <a:buBlip>
                <a:blip r:embed="rId3"/>
              </a:buBlip>
              <a:defRPr/>
            </a:pPr>
            <a:r>
              <a:rPr lang="pl-PL" sz="1400" b="1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Key learning points:</a:t>
            </a:r>
          </a:p>
          <a:p>
            <a:pPr marL="592674" lvl="2" indent="-238103" defTabSz="685800">
              <a:spcBef>
                <a:spcPts val="450"/>
              </a:spcBef>
              <a:buSzPct val="90000"/>
              <a:buBlip>
                <a:blip r:embed="rId3"/>
              </a:buBlip>
              <a:defRPr/>
            </a:pPr>
            <a:r>
              <a:rPr lang="en-US" sz="1400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gMSA can also be used for the attack </a:t>
            </a:r>
          </a:p>
          <a:p>
            <a:pPr marL="592674" lvl="2" indent="-238103" defTabSz="685800">
              <a:spcBef>
                <a:spcPts val="450"/>
              </a:spcBef>
              <a:buSzPct val="90000"/>
              <a:buBlip>
                <a:blip r:embed="rId3"/>
              </a:buBlip>
              <a:defRPr/>
            </a:pPr>
            <a:r>
              <a:rPr lang="en-US" sz="1400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Service accounts’ passwords are in the registry, available online and offline</a:t>
            </a:r>
          </a:p>
          <a:p>
            <a:pPr marL="592674" lvl="2" indent="-238103" defTabSz="685800">
              <a:spcBef>
                <a:spcPts val="450"/>
              </a:spcBef>
              <a:buSzPct val="90000"/>
              <a:buBlip>
                <a:blip r:embed="rId3"/>
              </a:buBlip>
              <a:defRPr/>
            </a:pPr>
            <a:r>
              <a:rPr lang="en-US" sz="1400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A privileged user is someone who has administrative access to critical systems</a:t>
            </a:r>
          </a:p>
          <a:p>
            <a:pPr marL="592674" lvl="2" indent="-238103" defTabSz="685800">
              <a:spcBef>
                <a:spcPts val="450"/>
              </a:spcBef>
              <a:buSzPct val="90000"/>
              <a:buBlip>
                <a:blip r:embed="rId3"/>
              </a:buBlip>
              <a:defRPr/>
            </a:pPr>
            <a:r>
              <a:rPr lang="en-US" sz="1400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Privileged users have sometimes more access than we think (see: SeBackupRead privilege or SeDebugPrivilege)</a:t>
            </a:r>
          </a:p>
          <a:p>
            <a:pPr marL="592674" lvl="2" indent="-238103" defTabSz="685800">
              <a:spcBef>
                <a:spcPts val="450"/>
              </a:spcBef>
              <a:buSzPct val="90000"/>
              <a:buBlip>
                <a:blip r:embed="rId3"/>
              </a:buBlip>
              <a:defRPr/>
            </a:pPr>
            <a:r>
              <a:rPr lang="en-US" sz="1400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Privileged users have possibility to read SYSTEM and SECURITY hives from the registry </a:t>
            </a:r>
          </a:p>
        </p:txBody>
      </p:sp>
      <p:pic>
        <p:nvPicPr>
          <p:cNvPr id="9" name="Picture 8" descr="Image result for raccoon at night">
            <a:extLst>
              <a:ext uri="{FF2B5EF4-FFF2-40B4-BE49-F238E27FC236}">
                <a16:creationId xmlns:a16="http://schemas.microsoft.com/office/drawing/2014/main" id="{0C1DC38D-7B23-427E-AF34-9262E1C38C1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625"/>
          <a:stretch/>
        </p:blipFill>
        <p:spPr bwMode="auto">
          <a:xfrm>
            <a:off x="5112291" y="1186397"/>
            <a:ext cx="3353529" cy="33222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E6EB4E5-37C7-4F6F-BCC4-13E55E740C4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94710" y="191034"/>
            <a:ext cx="8961437" cy="995363"/>
          </a:xfrm>
        </p:spPr>
        <p:txBody>
          <a:bodyPr>
            <a:noAutofit/>
          </a:bodyPr>
          <a:lstStyle/>
          <a:p>
            <a:r>
              <a:rPr lang="en-US" b="1" dirty="0">
                <a:solidFill>
                  <a:srgbClr val="FDBA12"/>
                </a:solidFill>
              </a:rPr>
              <a:t>#6 </a:t>
            </a:r>
            <a:r>
              <a:rPr lang="en-US" b="1" dirty="0"/>
              <a:t>Monitoring privileged accounts and identity misuse</a:t>
            </a:r>
          </a:p>
        </p:txBody>
      </p:sp>
    </p:spTree>
    <p:extLst>
      <p:ext uri="{BB962C8B-B14F-4D97-AF65-F5344CB8AC3E}">
        <p14:creationId xmlns:p14="http://schemas.microsoft.com/office/powerpoint/2010/main" val="42611787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884D50-B1ED-BA4C-255F-7CB2B0C1332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Demo: Accounts with Issues</a:t>
            </a:r>
          </a:p>
        </p:txBody>
      </p:sp>
    </p:spTree>
    <p:extLst>
      <p:ext uri="{BB962C8B-B14F-4D97-AF65-F5344CB8AC3E}">
        <p14:creationId xmlns:p14="http://schemas.microsoft.com/office/powerpoint/2010/main" val="27815059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>
            <a:extLst>
              <a:ext uri="{FF2B5EF4-FFF2-40B4-BE49-F238E27FC236}">
                <a16:creationId xmlns:a16="http://schemas.microsoft.com/office/drawing/2014/main" id="{0736F655-D1CE-755E-9926-4FACB8E5F28E}"/>
              </a:ext>
            </a:extLst>
          </p:cNvPr>
          <p:cNvSpPr txBox="1">
            <a:spLocks/>
          </p:cNvSpPr>
          <p:nvPr/>
        </p:nvSpPr>
        <p:spPr>
          <a:xfrm>
            <a:off x="457200" y="555526"/>
            <a:ext cx="8229600" cy="1121328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kern="1200" baseline="0">
                <a:solidFill>
                  <a:srgbClr val="343741"/>
                </a:solidFill>
                <a:latin typeface="IBM Plex Sans" panose="020B0503050203000203" pitchFamily="34" charset="0"/>
                <a:ea typeface="+mj-ea"/>
                <a:cs typeface="Museo Sans 100"/>
              </a:defRPr>
            </a:lvl1pPr>
          </a:lstStyle>
          <a:p>
            <a:r>
              <a:rPr lang="en-US" sz="2800" dirty="0">
                <a:solidFill>
                  <a:srgbClr val="FDBA12"/>
                </a:solidFill>
              </a:rPr>
              <a:t>Hackers’ Perspective on Remote Working:</a:t>
            </a:r>
          </a:p>
          <a:p>
            <a:r>
              <a:rPr lang="en-US" sz="2800" dirty="0"/>
              <a:t>Know the Risks, Fight the Tricks</a:t>
            </a:r>
            <a:endParaRPr lang="en-US" sz="2400" dirty="0"/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4A73B665-00E1-CA51-B12F-5F836DADF06B}"/>
              </a:ext>
            </a:extLst>
          </p:cNvPr>
          <p:cNvSpPr txBox="1">
            <a:spLocks/>
          </p:cNvSpPr>
          <p:nvPr/>
        </p:nvSpPr>
        <p:spPr>
          <a:xfrm>
            <a:off x="2439353" y="1924149"/>
            <a:ext cx="4076863" cy="2159769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rgbClr val="FDBA12"/>
              </a:buClr>
              <a:buFont typeface="Arial"/>
              <a:buChar char="•"/>
              <a:defRPr sz="2000" b="0" i="0" strike="noStrike" kern="1200" baseline="0">
                <a:solidFill>
                  <a:srgbClr val="343741"/>
                </a:solidFill>
                <a:latin typeface="IBM Plex Sans" panose="020B0503050203000203" pitchFamily="34" charset="0"/>
                <a:ea typeface="+mn-ea"/>
                <a:cs typeface="Museo Sans 300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rgbClr val="FDBA12"/>
              </a:buClr>
              <a:buFont typeface="Arial"/>
              <a:buChar char="•"/>
              <a:defRPr sz="1800" b="0" i="0" kern="1200" baseline="0">
                <a:solidFill>
                  <a:srgbClr val="343741"/>
                </a:solidFill>
                <a:latin typeface="IBM Plex Sans" panose="020B0503050203000203" pitchFamily="34" charset="0"/>
                <a:ea typeface="+mn-ea"/>
                <a:cs typeface="Museo Sans 300"/>
              </a:defRPr>
            </a:lvl2pPr>
            <a:lvl3pPr marL="1257300" indent="-342900" algn="l" defTabSz="457200" rtl="0" eaLnBrk="1" latinLnBrk="0" hangingPunct="1">
              <a:spcBef>
                <a:spcPct val="20000"/>
              </a:spcBef>
              <a:buClr>
                <a:srgbClr val="FDBA12"/>
              </a:buClr>
              <a:buFont typeface="Arial"/>
              <a:buChar char="•"/>
              <a:defRPr sz="1800" b="0" i="0" kern="1200" baseline="0">
                <a:solidFill>
                  <a:srgbClr val="343741"/>
                </a:solidFill>
                <a:latin typeface="IBM Plex Sans" panose="020B0503050203000203" pitchFamily="34" charset="0"/>
                <a:ea typeface="+mn-ea"/>
                <a:cs typeface="Museo Sans 30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rgbClr val="FDBA12"/>
              </a:buClr>
              <a:buFont typeface="Arial"/>
              <a:buChar char="•"/>
              <a:defRPr sz="1400" b="0" i="0" kern="1200" baseline="0">
                <a:solidFill>
                  <a:srgbClr val="343741"/>
                </a:solidFill>
                <a:latin typeface="IBM Plex Sans" panose="020B0503050203000203" pitchFamily="34" charset="0"/>
                <a:ea typeface="+mn-ea"/>
                <a:cs typeface="Museo Sans 30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rgbClr val="FDBA12"/>
              </a:buClr>
              <a:buFont typeface="Arial"/>
              <a:buChar char="•"/>
              <a:defRPr sz="1400" b="0" i="0" kern="1200" baseline="0">
                <a:solidFill>
                  <a:srgbClr val="343741"/>
                </a:solidFill>
                <a:latin typeface="IBM Plex Sans" panose="020B0503050203000203" pitchFamily="34" charset="0"/>
                <a:ea typeface="+mn-ea"/>
                <a:cs typeface="Museo Sans 30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</a:pPr>
            <a:r>
              <a:rPr lang="pl-PL" sz="1800" spc="-38" dirty="0">
                <a:ln w="3175">
                  <a:noFill/>
                </a:ln>
                <a:solidFill>
                  <a:srgbClr val="FDBA12"/>
                </a:solidFill>
                <a:ea typeface="Segoe UI Black" panose="020B0A02040204020203" pitchFamily="34" charset="0"/>
                <a:cs typeface="Segoe UI Semibold" panose="020B0702040204020203" pitchFamily="34" charset="0"/>
              </a:rPr>
              <a:t>Paula Januszkiewicz</a:t>
            </a:r>
            <a:endParaRPr lang="en-US" sz="1800" spc="-38" dirty="0">
              <a:ln w="3175">
                <a:noFill/>
              </a:ln>
              <a:solidFill>
                <a:srgbClr val="FDBA12"/>
              </a:solidFill>
              <a:ea typeface="Segoe UI Black" panose="020B0A02040204020203" pitchFamily="34" charset="0"/>
              <a:cs typeface="Segoe UI Semibold" panose="020B0702040204020203" pitchFamily="34" charset="0"/>
            </a:endParaRPr>
          </a:p>
          <a:p>
            <a:pPr marL="0" indent="0">
              <a:buFont typeface="Arial"/>
              <a:buNone/>
            </a:pPr>
            <a:r>
              <a:rPr lang="en-US" sz="1500" spc="-38" dirty="0">
                <a:ln w="3175">
                  <a:noFill/>
                </a:ln>
                <a:solidFill>
                  <a:srgbClr val="FDBA12"/>
                </a:solidFill>
                <a:ea typeface="Segoe UI Black" panose="020B0A02040204020203" pitchFamily="34" charset="0"/>
                <a:cs typeface="Segoe UI Semibold" panose="020B0702040204020203" pitchFamily="34" charset="0"/>
              </a:rPr>
              <a:t>CQURE: </a:t>
            </a:r>
            <a:r>
              <a:rPr lang="en-US" sz="1500" dirty="0">
                <a:ea typeface="Segoe UI Black" panose="020B0A02040204020203" pitchFamily="34" charset="0"/>
                <a:cs typeface="Segoe UI" panose="020B0502040204020203" pitchFamily="34" charset="0"/>
              </a:rPr>
              <a:t>CEO, Cybersecurity Expert</a:t>
            </a:r>
          </a:p>
          <a:p>
            <a:pPr marL="0" indent="0">
              <a:buFont typeface="Arial"/>
              <a:buNone/>
            </a:pPr>
            <a:r>
              <a:rPr lang="en-US" sz="1500" spc="-38" dirty="0">
                <a:ln w="3175">
                  <a:noFill/>
                </a:ln>
                <a:solidFill>
                  <a:srgbClr val="FDBA12"/>
                </a:solidFill>
                <a:ea typeface="Segoe UI Black" panose="020B0A02040204020203" pitchFamily="34" charset="0"/>
                <a:cs typeface="Segoe UI Semibold" panose="020B0702040204020203" pitchFamily="34" charset="0"/>
              </a:rPr>
              <a:t>CQURE Academy: </a:t>
            </a:r>
            <a:r>
              <a:rPr lang="en-US" sz="1500" dirty="0">
                <a:ea typeface="Segoe UI Black" panose="020B0A02040204020203" pitchFamily="34" charset="0"/>
                <a:cs typeface="Segoe UI" panose="020B0502040204020203" pitchFamily="34" charset="0"/>
              </a:rPr>
              <a:t>Trainer</a:t>
            </a:r>
            <a:endParaRPr lang="pl-PL" sz="1500" b="1" dirty="0">
              <a:ea typeface="Segoe UI Black" panose="020B0A02040204020203" pitchFamily="34" charset="0"/>
              <a:cs typeface="Segoe UI" panose="020B0502040204020203" pitchFamily="34" charset="0"/>
            </a:endParaRPr>
          </a:p>
          <a:p>
            <a:pPr marL="0" indent="0">
              <a:buFont typeface="Arial"/>
              <a:buNone/>
            </a:pPr>
            <a:r>
              <a:rPr lang="pl-PL" sz="1500" spc="-38" dirty="0">
                <a:ln w="3175">
                  <a:noFill/>
                </a:ln>
                <a:solidFill>
                  <a:srgbClr val="FDBA12"/>
                </a:solidFill>
                <a:ea typeface="Segoe UI Black" panose="020B0A02040204020203" pitchFamily="34" charset="0"/>
                <a:cs typeface="Segoe UI Semibold" panose="020B0702040204020203" pitchFamily="34" charset="0"/>
              </a:rPr>
              <a:t>Microsoft </a:t>
            </a:r>
            <a:r>
              <a:rPr lang="pl-PL" sz="1500" spc="-38" dirty="0" err="1">
                <a:ln w="3175">
                  <a:noFill/>
                </a:ln>
                <a:solidFill>
                  <a:srgbClr val="FDBA12"/>
                </a:solidFill>
                <a:ea typeface="Segoe UI Black" panose="020B0A02040204020203" pitchFamily="34" charset="0"/>
                <a:cs typeface="Segoe UI Semibold" panose="020B0702040204020203" pitchFamily="34" charset="0"/>
              </a:rPr>
              <a:t>Regional</a:t>
            </a:r>
            <a:r>
              <a:rPr lang="pl-PL" sz="1500" spc="-38" dirty="0">
                <a:ln w="3175">
                  <a:noFill/>
                </a:ln>
                <a:solidFill>
                  <a:srgbClr val="FDBA12"/>
                </a:solidFill>
                <a:ea typeface="Segoe UI Black" panose="020B0A02040204020203" pitchFamily="34" charset="0"/>
                <a:cs typeface="Segoe UI Semibold" panose="020B0702040204020203" pitchFamily="34" charset="0"/>
              </a:rPr>
              <a:t> </a:t>
            </a:r>
            <a:r>
              <a:rPr lang="pl-PL" sz="1500" spc="-38" dirty="0" err="1">
                <a:ln w="3175">
                  <a:noFill/>
                </a:ln>
                <a:solidFill>
                  <a:srgbClr val="FDBA12"/>
                </a:solidFill>
                <a:ea typeface="Segoe UI Black" panose="020B0A02040204020203" pitchFamily="34" charset="0"/>
                <a:cs typeface="Segoe UI Semibold" panose="020B0702040204020203" pitchFamily="34" charset="0"/>
              </a:rPr>
              <a:t>Director</a:t>
            </a:r>
            <a:endParaRPr lang="en-US" sz="1500" spc="-38" dirty="0">
              <a:ln w="3175">
                <a:noFill/>
              </a:ln>
              <a:solidFill>
                <a:srgbClr val="FDBA12"/>
              </a:solidFill>
              <a:ea typeface="Segoe UI Black" panose="020B0A02040204020203" pitchFamily="34" charset="0"/>
              <a:cs typeface="Segoe UI Semibold" panose="020B0702040204020203" pitchFamily="34" charset="0"/>
            </a:endParaRPr>
          </a:p>
          <a:p>
            <a:pPr marL="0" indent="0">
              <a:buFont typeface="Arial"/>
              <a:buNone/>
            </a:pPr>
            <a:r>
              <a:rPr lang="en-US" sz="1500" spc="-38" dirty="0">
                <a:ln w="3175">
                  <a:noFill/>
                </a:ln>
                <a:solidFill>
                  <a:srgbClr val="FDBA12"/>
                </a:solidFill>
                <a:ea typeface="Segoe UI Black" panose="020B0A02040204020203" pitchFamily="34" charset="0"/>
                <a:cs typeface="Segoe UI Semibold" panose="020B0702040204020203" pitchFamily="34" charset="0"/>
              </a:rPr>
              <a:t>MVP: </a:t>
            </a:r>
            <a:r>
              <a:rPr lang="en-US" sz="1500" dirty="0">
                <a:ea typeface="Segoe UI Black" panose="020B0A02040204020203" pitchFamily="34" charset="0"/>
                <a:cs typeface="Segoe UI" panose="020B0502040204020203" pitchFamily="34" charset="0"/>
              </a:rPr>
              <a:t>Cloud and Datacenter Management</a:t>
            </a:r>
            <a:endParaRPr lang="pl-PL" sz="1500" dirty="0">
              <a:ea typeface="Segoe UI Black" panose="020B0A02040204020203" pitchFamily="34" charset="0"/>
              <a:cs typeface="Segoe UI" panose="020B0502040204020203" pitchFamily="34" charset="0"/>
            </a:endParaRPr>
          </a:p>
          <a:p>
            <a:pPr marL="0" indent="0">
              <a:buFont typeface="Arial"/>
              <a:buNone/>
            </a:pPr>
            <a:r>
              <a:rPr lang="en-US" sz="1500" b="1" dirty="0">
                <a:ea typeface="Segoe UI Black" panose="020B0A02040204020203" pitchFamily="34" charset="0"/>
                <a:cs typeface="Segoe UI" panose="020B0502040204020203" pitchFamily="34" charset="0"/>
              </a:rPr>
              <a:t>www.cqureacademy.com</a:t>
            </a:r>
          </a:p>
          <a:p>
            <a:pPr marL="0" indent="0">
              <a:buFont typeface="Arial"/>
              <a:buNone/>
            </a:pPr>
            <a:r>
              <a:rPr lang="en-US" sz="1500" b="1" dirty="0">
                <a:ea typeface="Segoe UI Black" panose="020B0A02040204020203" pitchFamily="34" charset="0"/>
                <a:cs typeface="Segoe UI" panose="020B0502040204020203" pitchFamily="34" charset="0"/>
              </a:rPr>
              <a:t>paula@cqure.us</a:t>
            </a:r>
          </a:p>
        </p:txBody>
      </p:sp>
      <p:pic>
        <p:nvPicPr>
          <p:cNvPr id="4" name="Shape 82">
            <a:extLst>
              <a:ext uri="{FF2B5EF4-FFF2-40B4-BE49-F238E27FC236}">
                <a16:creationId xmlns:a16="http://schemas.microsoft.com/office/drawing/2014/main" id="{184512D3-AAB6-A739-1C23-A80121AD618E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631588" y="4371950"/>
            <a:ext cx="1532700" cy="552778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3E4F47A-8E3C-56CE-0CC3-F351F3C19F3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768" y="4281173"/>
            <a:ext cx="660569" cy="537039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17545FD7-AD55-3208-AED7-FFD89C2F7C7F}"/>
              </a:ext>
            </a:extLst>
          </p:cNvPr>
          <p:cNvSpPr/>
          <p:nvPr/>
        </p:nvSpPr>
        <p:spPr>
          <a:xfrm>
            <a:off x="1169337" y="4308285"/>
            <a:ext cx="1616148" cy="50629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96803">
              <a:defRPr/>
            </a:pPr>
            <a:r>
              <a:rPr lang="pl-PL" sz="1345" dirty="0">
                <a:solidFill>
                  <a:srgbClr val="000000"/>
                </a:solidFill>
                <a:latin typeface="IBM Plex Sans" panose="020B0503050203000203" pitchFamily="34" charset="0"/>
              </a:rPr>
              <a:t>@</a:t>
            </a:r>
            <a:r>
              <a:rPr lang="pl-PL" sz="1345" dirty="0" err="1">
                <a:solidFill>
                  <a:srgbClr val="000000"/>
                </a:solidFill>
                <a:latin typeface="IBM Plex Sans" panose="020B0503050203000203" pitchFamily="34" charset="0"/>
              </a:rPr>
              <a:t>paulacqure</a:t>
            </a:r>
            <a:r>
              <a:rPr lang="pl-PL" sz="1345" dirty="0">
                <a:solidFill>
                  <a:srgbClr val="000000"/>
                </a:solidFill>
                <a:latin typeface="IBM Plex Sans" panose="020B0503050203000203" pitchFamily="34" charset="0"/>
              </a:rPr>
              <a:t> </a:t>
            </a:r>
            <a:endParaRPr lang="en-US" sz="1345" dirty="0">
              <a:solidFill>
                <a:srgbClr val="000000"/>
              </a:solidFill>
              <a:latin typeface="IBM Plex Sans" panose="020B0503050203000203" pitchFamily="34" charset="0"/>
            </a:endParaRPr>
          </a:p>
          <a:p>
            <a:pPr defTabSz="696803">
              <a:defRPr/>
            </a:pPr>
            <a:r>
              <a:rPr lang="pl-PL" sz="1345" dirty="0">
                <a:solidFill>
                  <a:srgbClr val="000000"/>
                </a:solidFill>
                <a:latin typeface="IBM Plex Sans" panose="020B0503050203000203" pitchFamily="34" charset="0"/>
              </a:rPr>
              <a:t>@CQUREAcademy</a:t>
            </a:r>
          </a:p>
        </p:txBody>
      </p:sp>
      <p:pic>
        <p:nvPicPr>
          <p:cNvPr id="7" name="Shape 82">
            <a:extLst>
              <a:ext uri="{FF2B5EF4-FFF2-40B4-BE49-F238E27FC236}">
                <a16:creationId xmlns:a16="http://schemas.microsoft.com/office/drawing/2014/main" id="{B9EB13D6-08B6-D0ED-36F9-AF83A0344E99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 b="24945"/>
          <a:stretch/>
        </p:blipFill>
        <p:spPr>
          <a:xfrm>
            <a:off x="3563888" y="4384831"/>
            <a:ext cx="1500937" cy="406286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1A427D2-1457-5F19-1207-4DC18DE7FB3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8393" t="1951" r="17765" b="50567"/>
          <a:stretch/>
        </p:blipFill>
        <p:spPr>
          <a:xfrm>
            <a:off x="508768" y="1851670"/>
            <a:ext cx="1734201" cy="1684020"/>
          </a:xfrm>
          <a:prstGeom prst="flowChartConnector">
            <a:avLst/>
          </a:prstGeom>
        </p:spPr>
      </p:pic>
    </p:spTree>
    <p:extLst>
      <p:ext uri="{BB962C8B-B14F-4D97-AF65-F5344CB8AC3E}">
        <p14:creationId xmlns:p14="http://schemas.microsoft.com/office/powerpoint/2010/main" val="398456742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884D50-B1ED-BA4C-255F-7CB2B0C1332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Demo: DPAPI Beauty</a:t>
            </a:r>
          </a:p>
        </p:txBody>
      </p:sp>
    </p:spTree>
    <p:extLst>
      <p:ext uri="{BB962C8B-B14F-4D97-AF65-F5344CB8AC3E}">
        <p14:creationId xmlns:p14="http://schemas.microsoft.com/office/powerpoint/2010/main" val="134677512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40FC38-544B-6459-C08C-A6D6E9474C3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pl-PL" sz="2800" dirty="0" err="1"/>
              <a:t>Why</a:t>
            </a:r>
            <a:r>
              <a:rPr lang="pl-PL" sz="2800" dirty="0"/>
              <a:t> </a:t>
            </a:r>
            <a:r>
              <a:rPr lang="pl-PL" sz="2800" dirty="0" err="1"/>
              <a:t>human</a:t>
            </a:r>
            <a:r>
              <a:rPr lang="pl-PL" sz="2800" dirty="0"/>
              <a:t> </a:t>
            </a:r>
            <a:r>
              <a:rPr lang="pl-PL" sz="2800" dirty="0" err="1"/>
              <a:t>factor</a:t>
            </a:r>
            <a:r>
              <a:rPr lang="pl-PL" sz="2800" dirty="0"/>
              <a:t> </a:t>
            </a:r>
            <a:r>
              <a:rPr lang="pl-PL" sz="2800" dirty="0" err="1"/>
              <a:t>is</a:t>
            </a:r>
            <a:r>
              <a:rPr lang="pl-PL" sz="2800" dirty="0"/>
              <a:t> </a:t>
            </a:r>
            <a:r>
              <a:rPr lang="pl-PL" sz="2800" dirty="0" err="1"/>
              <a:t>so</a:t>
            </a:r>
            <a:r>
              <a:rPr lang="pl-PL" sz="2800" dirty="0"/>
              <a:t> </a:t>
            </a:r>
            <a:r>
              <a:rPr lang="pl-PL" sz="2800" dirty="0" err="1"/>
              <a:t>important</a:t>
            </a:r>
            <a:r>
              <a:rPr lang="pl-PL" sz="2800" dirty="0"/>
              <a:t>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658050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C326BB86-C5A2-4AAA-9E93-CB30B1D8E906}"/>
              </a:ext>
            </a:extLst>
          </p:cNvPr>
          <p:cNvSpPr txBox="1"/>
          <p:nvPr/>
        </p:nvSpPr>
        <p:spPr>
          <a:xfrm>
            <a:off x="611560" y="401316"/>
            <a:ext cx="8631074" cy="56169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685800">
              <a:defRPr/>
            </a:pPr>
            <a:r>
              <a:rPr lang="en-US" sz="3200" b="1" dirty="0">
                <a:latin typeface="IBM Plex Sans" panose="020B0503050203000203" pitchFamily="34" charset="0"/>
                <a:ea typeface="Segoe UI black"/>
                <a:cs typeface="Segoe UI black"/>
              </a:rPr>
              <a:t>Summary</a:t>
            </a:r>
            <a:endParaRPr lang="en-US" sz="3200" b="1" dirty="0">
              <a:latin typeface="IBM Plex Sans" panose="020B0503050203000203" pitchFamily="34" charset="0"/>
            </a:endParaRPr>
          </a:p>
        </p:txBody>
      </p:sp>
      <p:pic>
        <p:nvPicPr>
          <p:cNvPr id="3" name="Picture 3" descr="A picture containing icon&#10;&#10;Description automatically generated">
            <a:extLst>
              <a:ext uri="{FF2B5EF4-FFF2-40B4-BE49-F238E27FC236}">
                <a16:creationId xmlns:a16="http://schemas.microsoft.com/office/drawing/2014/main" id="{229C826B-3DDA-43CC-BFC4-EED049C155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9002" y="1451802"/>
            <a:ext cx="645459" cy="640657"/>
          </a:xfrm>
          <a:prstGeom prst="rect">
            <a:avLst/>
          </a:prstGeom>
        </p:spPr>
      </p:pic>
      <p:pic>
        <p:nvPicPr>
          <p:cNvPr id="4" name="Picture 4" descr="A picture containing candelabra, object, drawing&#10;&#10;Description automatically generated">
            <a:extLst>
              <a:ext uri="{FF2B5EF4-FFF2-40B4-BE49-F238E27FC236}">
                <a16:creationId xmlns:a16="http://schemas.microsoft.com/office/drawing/2014/main" id="{CB806AC2-3541-49A1-9E23-BDF50DF8D15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2847" y="2570789"/>
            <a:ext cx="731905" cy="703090"/>
          </a:xfrm>
          <a:prstGeom prst="rect">
            <a:avLst/>
          </a:prstGeom>
        </p:spPr>
      </p:pic>
      <p:pic>
        <p:nvPicPr>
          <p:cNvPr id="5" name="Picture 5" descr="Logo&#10;&#10;Description automatically generated">
            <a:extLst>
              <a:ext uri="{FF2B5EF4-FFF2-40B4-BE49-F238E27FC236}">
                <a16:creationId xmlns:a16="http://schemas.microsoft.com/office/drawing/2014/main" id="{03A4C4F1-474C-4F85-9FC2-F10FFA2084F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0872" y="3713752"/>
            <a:ext cx="631052" cy="626249"/>
          </a:xfrm>
          <a:prstGeom prst="rect">
            <a:avLst/>
          </a:prstGeom>
        </p:spPr>
      </p:pic>
      <p:pic>
        <p:nvPicPr>
          <p:cNvPr id="6" name="Picture 8" descr="Icon&#10;&#10;Description automatically generated">
            <a:extLst>
              <a:ext uri="{FF2B5EF4-FFF2-40B4-BE49-F238E27FC236}">
                <a16:creationId xmlns:a16="http://schemas.microsoft.com/office/drawing/2014/main" id="{F05751E8-92C7-421D-974C-977066F4662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31767" y="3680171"/>
            <a:ext cx="775127" cy="770325"/>
          </a:xfrm>
          <a:prstGeom prst="rect">
            <a:avLst/>
          </a:prstGeom>
        </p:spPr>
      </p:pic>
      <p:pic>
        <p:nvPicPr>
          <p:cNvPr id="9" name="Picture 9" descr="Icon&#10;&#10;Description automatically generated">
            <a:extLst>
              <a:ext uri="{FF2B5EF4-FFF2-40B4-BE49-F238E27FC236}">
                <a16:creationId xmlns:a16="http://schemas.microsoft.com/office/drawing/2014/main" id="{37DE926F-402D-4ED0-AFEF-45942310B52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99001" y="2570788"/>
            <a:ext cx="650263" cy="645460"/>
          </a:xfrm>
          <a:prstGeom prst="rect">
            <a:avLst/>
          </a:prstGeom>
        </p:spPr>
      </p:pic>
      <p:pic>
        <p:nvPicPr>
          <p:cNvPr id="10" name="Picture 10" descr="A picture containing schematic&#10;&#10;Description automatically generated">
            <a:extLst>
              <a:ext uri="{FF2B5EF4-FFF2-40B4-BE49-F238E27FC236}">
                <a16:creationId xmlns:a16="http://schemas.microsoft.com/office/drawing/2014/main" id="{2A1B140B-F793-492B-ABB3-29D39F40B40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5279" y="1475815"/>
            <a:ext cx="602237" cy="59743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06503B1-260E-47FF-9314-CBDB785B4760}"/>
              </a:ext>
            </a:extLst>
          </p:cNvPr>
          <p:cNvSpPr txBox="1"/>
          <p:nvPr/>
        </p:nvSpPr>
        <p:spPr>
          <a:xfrm>
            <a:off x="1252496" y="1476661"/>
            <a:ext cx="2748961" cy="48474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685800">
              <a:defRPr/>
            </a:pPr>
            <a:r>
              <a:rPr lang="en-US" sz="1350" dirty="0">
                <a:latin typeface="IBM Plex Sans" panose="020B0503050203000203" pitchFamily="34" charset="0"/>
                <a:cs typeface="Segoe UI"/>
              </a:rPr>
              <a:t>#1</a:t>
            </a:r>
          </a:p>
          <a:p>
            <a:pPr defTabSz="685800">
              <a:defRPr/>
            </a:pPr>
            <a:r>
              <a:rPr lang="en-US" sz="1350" dirty="0">
                <a:latin typeface="IBM Plex Sans" panose="020B0503050203000203" pitchFamily="34" charset="0"/>
                <a:cs typeface="Segoe UI"/>
              </a:rPr>
              <a:t>Well Configured Firewal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038F529-620C-469E-97DD-9FBAF531FA21}"/>
              </a:ext>
            </a:extLst>
          </p:cNvPr>
          <p:cNvSpPr txBox="1"/>
          <p:nvPr/>
        </p:nvSpPr>
        <p:spPr>
          <a:xfrm>
            <a:off x="1252497" y="2547268"/>
            <a:ext cx="2748961" cy="6924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685800">
              <a:defRPr/>
            </a:pPr>
            <a:r>
              <a:rPr lang="en-US" sz="1350" dirty="0">
                <a:latin typeface="IBM Plex Sans" panose="020B0503050203000203" pitchFamily="34" charset="0"/>
                <a:ea typeface="+mn-lt"/>
                <a:cs typeface="Calibri" panose="020F0502020204030204"/>
              </a:rPr>
              <a:t>#2 </a:t>
            </a:r>
          </a:p>
          <a:p>
            <a:pPr defTabSz="685800">
              <a:defRPr/>
            </a:pPr>
            <a:r>
              <a:rPr lang="en-US" sz="1350" dirty="0">
                <a:latin typeface="IBM Plex Sans" panose="020B0503050203000203" pitchFamily="34" charset="0"/>
                <a:ea typeface="+mn-lt"/>
                <a:cs typeface="Calibri" panose="020F0502020204030204"/>
              </a:rPr>
              <a:t>Usage of MFA and Conditional Access</a:t>
            </a:r>
            <a:endParaRPr lang="en-US" sz="1350" dirty="0">
              <a:latin typeface="IBM Plex Sans" panose="020B0503050203000203" pitchFamily="34" charset="0"/>
              <a:cs typeface="Calibri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7393694-07AD-492B-A3B2-D0BA6671E4C8}"/>
              </a:ext>
            </a:extLst>
          </p:cNvPr>
          <p:cNvSpPr txBox="1"/>
          <p:nvPr/>
        </p:nvSpPr>
        <p:spPr>
          <a:xfrm>
            <a:off x="5344245" y="3680171"/>
            <a:ext cx="2748961" cy="152349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685800">
              <a:defRPr/>
            </a:pPr>
            <a:r>
              <a:rPr lang="en-US" sz="1350" dirty="0">
                <a:latin typeface="IBM Plex Sans" panose="020B0503050203000203" pitchFamily="34" charset="0"/>
                <a:ea typeface="+mn-lt"/>
                <a:cs typeface="Calibri" panose="020F0502020204030204"/>
              </a:rPr>
              <a:t>#6</a:t>
            </a:r>
          </a:p>
          <a:p>
            <a:pPr defTabSz="685800">
              <a:defRPr/>
            </a:pPr>
            <a:r>
              <a:rPr lang="en-US" sz="1350" dirty="0">
                <a:latin typeface="IBM Plex Sans" panose="020B0503050203000203" pitchFamily="34" charset="0"/>
                <a:ea typeface="+mn-lt"/>
                <a:cs typeface="Calibri" panose="020F0502020204030204"/>
              </a:rPr>
              <a:t>Connecting the Dots</a:t>
            </a:r>
          </a:p>
          <a:p>
            <a:pPr defTabSz="685800">
              <a:defRPr/>
            </a:pPr>
            <a:r>
              <a:rPr lang="en-US" sz="1350" dirty="0">
                <a:latin typeface="IBM Plex Sans" panose="020B0503050203000203" pitchFamily="34" charset="0"/>
                <a:ea typeface="+mn-lt"/>
                <a:cs typeface="Calibri" panose="020F0502020204030204"/>
              </a:rPr>
              <a:t>(monitoring identity etc.)</a:t>
            </a:r>
          </a:p>
          <a:p>
            <a:pPr defTabSz="685800">
              <a:defRPr/>
            </a:pPr>
            <a:br>
              <a:rPr lang="en-US" sz="1350" dirty="0">
                <a:latin typeface="IBM Plex Sans" panose="020B0503050203000203" pitchFamily="34" charset="0"/>
              </a:rPr>
            </a:br>
            <a:endParaRPr lang="en-US" sz="1350" dirty="0">
              <a:latin typeface="IBM Plex Sans" panose="020B0503050203000203" pitchFamily="34" charset="0"/>
              <a:cs typeface="Segoe UI"/>
            </a:endParaRPr>
          </a:p>
          <a:p>
            <a:pPr defTabSz="685800">
              <a:defRPr/>
            </a:pPr>
            <a:br>
              <a:rPr lang="en-US" sz="1350" dirty="0">
                <a:latin typeface="IBM Plex Sans" panose="020B0503050203000203" pitchFamily="34" charset="0"/>
              </a:rPr>
            </a:br>
            <a:endParaRPr lang="en-US" sz="1350" dirty="0">
              <a:latin typeface="IBM Plex Sans" panose="020B0503050203000203" pitchFamily="34" charset="0"/>
              <a:cs typeface="Calibri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F48FF59-390D-4D8D-994A-41090F7FA299}"/>
              </a:ext>
            </a:extLst>
          </p:cNvPr>
          <p:cNvSpPr txBox="1"/>
          <p:nvPr/>
        </p:nvSpPr>
        <p:spPr>
          <a:xfrm>
            <a:off x="1252496" y="3683770"/>
            <a:ext cx="2748961" cy="110799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685800">
              <a:defRPr/>
            </a:pPr>
            <a:r>
              <a:rPr lang="en-US" sz="1350" dirty="0">
                <a:latin typeface="IBM Plex Sans" panose="020B0503050203000203" pitchFamily="34" charset="0"/>
                <a:ea typeface="+mn-lt"/>
                <a:cs typeface="Calibri" panose="020F0502020204030204"/>
              </a:rPr>
              <a:t>#3</a:t>
            </a:r>
          </a:p>
          <a:p>
            <a:pPr defTabSz="685800">
              <a:defRPr/>
            </a:pPr>
            <a:r>
              <a:rPr lang="en-US" sz="1350" dirty="0">
                <a:latin typeface="IBM Plex Sans" panose="020B0503050203000203" pitchFamily="34" charset="0"/>
                <a:cs typeface="Segoe UI"/>
              </a:rPr>
              <a:t>Network Segmentation and SMB Signing</a:t>
            </a:r>
          </a:p>
          <a:p>
            <a:pPr defTabSz="685800">
              <a:defRPr/>
            </a:pPr>
            <a:br>
              <a:rPr lang="en-US" sz="1350" dirty="0">
                <a:latin typeface="IBM Plex Sans" panose="020B0503050203000203" pitchFamily="34" charset="0"/>
              </a:rPr>
            </a:br>
            <a:endParaRPr lang="en-US" sz="1350" dirty="0">
              <a:latin typeface="IBM Plex Sans" panose="020B0503050203000203" pitchFamily="34" charset="0"/>
              <a:cs typeface="Calibri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8DE2A2A-568B-45D5-9D1F-9144EFA9ADE3}"/>
              </a:ext>
            </a:extLst>
          </p:cNvPr>
          <p:cNvSpPr txBox="1"/>
          <p:nvPr/>
        </p:nvSpPr>
        <p:spPr>
          <a:xfrm>
            <a:off x="5344245" y="2544590"/>
            <a:ext cx="2748961" cy="48474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685800">
              <a:defRPr/>
            </a:pPr>
            <a:r>
              <a:rPr lang="en-US" sz="1350" dirty="0">
                <a:latin typeface="IBM Plex Sans" panose="020B0503050203000203" pitchFamily="34" charset="0"/>
                <a:ea typeface="+mn-lt"/>
                <a:cs typeface="Calibri" panose="020F0502020204030204"/>
              </a:rPr>
              <a:t>#5</a:t>
            </a:r>
          </a:p>
          <a:p>
            <a:pPr defTabSz="685800">
              <a:defRPr/>
            </a:pPr>
            <a:r>
              <a:rPr lang="en-US" sz="1350" dirty="0">
                <a:latin typeface="IBM Plex Sans" panose="020B0503050203000203" pitchFamily="34" charset="0"/>
                <a:ea typeface="+mn-lt"/>
                <a:cs typeface="Calibri" panose="020F0502020204030204"/>
              </a:rPr>
              <a:t>Configuration Audit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5444A60-8DE5-49AE-ADCD-493CE968F25C}"/>
              </a:ext>
            </a:extLst>
          </p:cNvPr>
          <p:cNvSpPr txBox="1"/>
          <p:nvPr/>
        </p:nvSpPr>
        <p:spPr>
          <a:xfrm>
            <a:off x="5344245" y="1471299"/>
            <a:ext cx="2748961" cy="48474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685800">
              <a:defRPr/>
            </a:pPr>
            <a:r>
              <a:rPr lang="en-US" sz="1350" dirty="0">
                <a:latin typeface="IBM Plex Sans" panose="020B0503050203000203" pitchFamily="34" charset="0"/>
                <a:ea typeface="+mn-lt"/>
                <a:cs typeface="Calibri" panose="020F0502020204030204"/>
              </a:rPr>
              <a:t>#4</a:t>
            </a:r>
          </a:p>
          <a:p>
            <a:pPr defTabSz="685800">
              <a:defRPr/>
            </a:pPr>
            <a:r>
              <a:rPr lang="en-US" sz="1350" dirty="0">
                <a:latin typeface="IBM Plex Sans" panose="020B0503050203000203" pitchFamily="34" charset="0"/>
                <a:ea typeface="+mn-lt"/>
                <a:cs typeface="Calibri" panose="020F0502020204030204"/>
              </a:rPr>
              <a:t>Whitelisting</a:t>
            </a:r>
            <a:endParaRPr lang="en-US" sz="1350" dirty="0">
              <a:latin typeface="IBM Plex Sans" panose="020B0503050203000203" pitchFamily="34" charset="0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32901314"/>
      </p:ext>
    </p:extLst>
  </p:cSld>
  <p:clrMapOvr>
    <a:masterClrMapping/>
  </p:clrMapOvr>
  <p:transition spd="slow">
    <p:wip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C326BB86-C5A2-4AAA-9E93-CB30B1D8E906}"/>
              </a:ext>
            </a:extLst>
          </p:cNvPr>
          <p:cNvSpPr txBox="1"/>
          <p:nvPr/>
        </p:nvSpPr>
        <p:spPr>
          <a:xfrm>
            <a:off x="611560" y="513386"/>
            <a:ext cx="8631074" cy="56169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685800">
              <a:defRPr/>
            </a:pPr>
            <a:r>
              <a:rPr lang="en-US" sz="3200" b="1" dirty="0">
                <a:latin typeface="IBM Plex Sans" panose="020B0503050203000203" pitchFamily="34" charset="0"/>
                <a:ea typeface="Segoe UI black"/>
                <a:cs typeface="Segoe UI black"/>
              </a:rPr>
              <a:t>Summary</a:t>
            </a:r>
            <a:endParaRPr lang="en-US" sz="3200" b="1" dirty="0">
              <a:latin typeface="IBM Plex Sans" panose="020B0503050203000203" pitchFamily="34" charset="0"/>
            </a:endParaRPr>
          </a:p>
        </p:txBody>
      </p:sp>
      <p:pic>
        <p:nvPicPr>
          <p:cNvPr id="3" name="Picture 3" descr="A picture containing icon&#10;&#10;Description automatically generated">
            <a:extLst>
              <a:ext uri="{FF2B5EF4-FFF2-40B4-BE49-F238E27FC236}">
                <a16:creationId xmlns:a16="http://schemas.microsoft.com/office/drawing/2014/main" id="{229C826B-3DDA-43CC-BFC4-EED049C155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9002" y="1451802"/>
            <a:ext cx="645459" cy="640657"/>
          </a:xfrm>
          <a:prstGeom prst="rect">
            <a:avLst/>
          </a:prstGeom>
        </p:spPr>
      </p:pic>
      <p:pic>
        <p:nvPicPr>
          <p:cNvPr id="4" name="Picture 4" descr="A picture containing candelabra, object, drawing&#10;&#10;Description automatically generated">
            <a:extLst>
              <a:ext uri="{FF2B5EF4-FFF2-40B4-BE49-F238E27FC236}">
                <a16:creationId xmlns:a16="http://schemas.microsoft.com/office/drawing/2014/main" id="{CB806AC2-3541-49A1-9E23-BDF50DF8D15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2847" y="2570789"/>
            <a:ext cx="731905" cy="703090"/>
          </a:xfrm>
          <a:prstGeom prst="rect">
            <a:avLst/>
          </a:prstGeom>
        </p:spPr>
      </p:pic>
      <p:pic>
        <p:nvPicPr>
          <p:cNvPr id="5" name="Picture 5" descr="Logo&#10;&#10;Description automatically generated">
            <a:extLst>
              <a:ext uri="{FF2B5EF4-FFF2-40B4-BE49-F238E27FC236}">
                <a16:creationId xmlns:a16="http://schemas.microsoft.com/office/drawing/2014/main" id="{03A4C4F1-474C-4F85-9FC2-F10FFA2084F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0872" y="3752209"/>
            <a:ext cx="631052" cy="626249"/>
          </a:xfrm>
          <a:prstGeom prst="rect">
            <a:avLst/>
          </a:prstGeom>
        </p:spPr>
      </p:pic>
      <p:pic>
        <p:nvPicPr>
          <p:cNvPr id="6" name="Picture 8" descr="Icon&#10;&#10;Description automatically generated">
            <a:extLst>
              <a:ext uri="{FF2B5EF4-FFF2-40B4-BE49-F238E27FC236}">
                <a16:creationId xmlns:a16="http://schemas.microsoft.com/office/drawing/2014/main" id="{F05751E8-92C7-421D-974C-977066F4662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31767" y="3680171"/>
            <a:ext cx="775127" cy="770325"/>
          </a:xfrm>
          <a:prstGeom prst="rect">
            <a:avLst/>
          </a:prstGeom>
        </p:spPr>
      </p:pic>
      <p:pic>
        <p:nvPicPr>
          <p:cNvPr id="9" name="Picture 9" descr="Icon&#10;&#10;Description automatically generated">
            <a:extLst>
              <a:ext uri="{FF2B5EF4-FFF2-40B4-BE49-F238E27FC236}">
                <a16:creationId xmlns:a16="http://schemas.microsoft.com/office/drawing/2014/main" id="{37DE926F-402D-4ED0-AFEF-45942310B52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99001" y="2570788"/>
            <a:ext cx="650263" cy="645460"/>
          </a:xfrm>
          <a:prstGeom prst="rect">
            <a:avLst/>
          </a:prstGeom>
        </p:spPr>
      </p:pic>
      <p:pic>
        <p:nvPicPr>
          <p:cNvPr id="10" name="Picture 10" descr="A picture containing schematic&#10;&#10;Description automatically generated">
            <a:extLst>
              <a:ext uri="{FF2B5EF4-FFF2-40B4-BE49-F238E27FC236}">
                <a16:creationId xmlns:a16="http://schemas.microsoft.com/office/drawing/2014/main" id="{2A1B140B-F793-492B-ABB3-29D39F40B40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5279" y="1475815"/>
            <a:ext cx="602237" cy="59743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06503B1-260E-47FF-9314-CBDB785B4760}"/>
              </a:ext>
            </a:extLst>
          </p:cNvPr>
          <p:cNvSpPr txBox="1"/>
          <p:nvPr/>
        </p:nvSpPr>
        <p:spPr>
          <a:xfrm>
            <a:off x="1257300" y="1324536"/>
            <a:ext cx="3041918" cy="131574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685800">
              <a:defRPr/>
            </a:pPr>
            <a:r>
              <a:rPr lang="en-US" sz="1350" dirty="0">
                <a:latin typeface="IBM Plex Sans" panose="020B0503050203000203" pitchFamily="34" charset="0"/>
                <a:cs typeface="Segoe UI"/>
              </a:rPr>
              <a:t>Every employee in the organization is the first line of defense when it comes to protecting your organization from cyber threats.</a:t>
            </a:r>
          </a:p>
          <a:p>
            <a:pPr defTabSz="685800">
              <a:defRPr/>
            </a:pPr>
            <a:br>
              <a:rPr lang="en-US" sz="1350" dirty="0">
                <a:latin typeface="IBM Plex Sans" panose="020B0503050203000203" pitchFamily="34" charset="0"/>
              </a:rPr>
            </a:br>
            <a:endParaRPr lang="en-US" sz="1350" dirty="0">
              <a:latin typeface="IBM Plex Sans" panose="020B0503050203000203" pitchFamily="34" charset="0"/>
              <a:cs typeface="Calibri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038F529-620C-469E-97DD-9FBAF531FA21}"/>
              </a:ext>
            </a:extLst>
          </p:cNvPr>
          <p:cNvSpPr txBox="1"/>
          <p:nvPr/>
        </p:nvSpPr>
        <p:spPr>
          <a:xfrm>
            <a:off x="1252497" y="2467534"/>
            <a:ext cx="2948744" cy="131574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685800">
              <a:defRPr/>
            </a:pPr>
            <a:r>
              <a:rPr lang="en-US" sz="1350" dirty="0">
                <a:latin typeface="IBM Plex Sans" panose="020B0503050203000203" pitchFamily="34" charset="0"/>
                <a:ea typeface="+mn-lt"/>
                <a:cs typeface="Calibri" panose="020F0502020204030204"/>
              </a:rPr>
              <a:t>Remote workers will continue to be a target for cybercriminals. As</a:t>
            </a:r>
            <a:br>
              <a:rPr lang="pl-PL" sz="1350" dirty="0">
                <a:latin typeface="IBM Plex Sans" panose="020B0503050203000203" pitchFamily="34" charset="0"/>
                <a:ea typeface="+mn-lt"/>
                <a:cs typeface="Calibri" panose="020F0502020204030204"/>
              </a:rPr>
            </a:br>
            <a:r>
              <a:rPr lang="en-US" sz="1350" dirty="0">
                <a:latin typeface="IBM Plex Sans" panose="020B0503050203000203" pitchFamily="34" charset="0"/>
                <a:ea typeface="+mn-lt"/>
                <a:cs typeface="Calibri" panose="020F0502020204030204"/>
              </a:rPr>
              <a:t>a side effect of remote workforces, cloud breaches will increase.</a:t>
            </a:r>
          </a:p>
          <a:p>
            <a:pPr defTabSz="685800">
              <a:defRPr/>
            </a:pPr>
            <a:br>
              <a:rPr lang="en-US" sz="1350" dirty="0">
                <a:latin typeface="IBM Plex Sans" panose="020B0503050203000203" pitchFamily="34" charset="0"/>
              </a:rPr>
            </a:br>
            <a:endParaRPr lang="en-US" sz="1350" dirty="0">
              <a:latin typeface="IBM Plex Sans" panose="020B0503050203000203" pitchFamily="34" charset="0"/>
              <a:cs typeface="Calibri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7393694-07AD-492B-A3B2-D0BA6671E4C8}"/>
              </a:ext>
            </a:extLst>
          </p:cNvPr>
          <p:cNvSpPr txBox="1"/>
          <p:nvPr/>
        </p:nvSpPr>
        <p:spPr>
          <a:xfrm>
            <a:off x="5344245" y="3591324"/>
            <a:ext cx="2748961" cy="173124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685800">
              <a:defRPr/>
            </a:pPr>
            <a:r>
              <a:rPr lang="en-US" sz="1350" dirty="0">
                <a:latin typeface="IBM Plex Sans" panose="020B0503050203000203" pitchFamily="34" charset="0"/>
                <a:ea typeface="+mn-lt"/>
                <a:cs typeface="Calibri" panose="020F0502020204030204"/>
              </a:rPr>
              <a:t>Prevention is the key to success:</a:t>
            </a:r>
          </a:p>
          <a:p>
            <a:pPr defTabSz="685800">
              <a:defRPr/>
            </a:pPr>
            <a:r>
              <a:rPr lang="en-US" sz="1350" dirty="0">
                <a:latin typeface="IBM Plex Sans" panose="020B0503050203000203" pitchFamily="34" charset="0"/>
                <a:ea typeface="+mn-lt"/>
                <a:cs typeface="Calibri" panose="020F0502020204030204"/>
              </a:rPr>
              <a:t>How can we know what to prevent if we do not know what is the threat? </a:t>
            </a:r>
          </a:p>
          <a:p>
            <a:pPr defTabSz="685800">
              <a:defRPr/>
            </a:pPr>
            <a:br>
              <a:rPr lang="en-US" sz="1350" dirty="0">
                <a:latin typeface="IBM Plex Sans" panose="020B0503050203000203" pitchFamily="34" charset="0"/>
              </a:rPr>
            </a:br>
            <a:endParaRPr lang="en-US" sz="1350" dirty="0">
              <a:latin typeface="IBM Plex Sans" panose="020B0503050203000203" pitchFamily="34" charset="0"/>
              <a:cs typeface="Segoe UI"/>
            </a:endParaRPr>
          </a:p>
          <a:p>
            <a:pPr defTabSz="685800">
              <a:defRPr/>
            </a:pPr>
            <a:br>
              <a:rPr lang="en-US" sz="1350" dirty="0">
                <a:latin typeface="IBM Plex Sans" panose="020B0503050203000203" pitchFamily="34" charset="0"/>
              </a:rPr>
            </a:br>
            <a:endParaRPr lang="en-US" sz="1350" dirty="0">
              <a:latin typeface="IBM Plex Sans" panose="020B0503050203000203" pitchFamily="34" charset="0"/>
              <a:cs typeface="Calibri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F48FF59-390D-4D8D-994A-41090F7FA299}"/>
              </a:ext>
            </a:extLst>
          </p:cNvPr>
          <p:cNvSpPr txBox="1"/>
          <p:nvPr/>
        </p:nvSpPr>
        <p:spPr>
          <a:xfrm>
            <a:off x="1252497" y="3717319"/>
            <a:ext cx="2748961" cy="131574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685800">
              <a:defRPr/>
            </a:pPr>
            <a:r>
              <a:rPr lang="en-US" sz="1350" dirty="0">
                <a:latin typeface="IBM Plex Sans" panose="020B0503050203000203" pitchFamily="34" charset="0"/>
                <a:ea typeface="+mn-lt"/>
                <a:cs typeface="Calibri" panose="020F0502020204030204"/>
              </a:rPr>
              <a:t>The cybersecurity skills gap will remain an issue. It’s time to act – now!</a:t>
            </a:r>
            <a:br>
              <a:rPr lang="en-US" sz="1350" dirty="0">
                <a:latin typeface="IBM Plex Sans" panose="020B0503050203000203" pitchFamily="34" charset="0"/>
              </a:rPr>
            </a:br>
            <a:endParaRPr lang="en-US" sz="1350" dirty="0">
              <a:latin typeface="IBM Plex Sans" panose="020B0503050203000203" pitchFamily="34" charset="0"/>
              <a:cs typeface="Segoe UI"/>
            </a:endParaRPr>
          </a:p>
          <a:p>
            <a:pPr defTabSz="685800">
              <a:defRPr/>
            </a:pPr>
            <a:br>
              <a:rPr lang="en-US" sz="1350" dirty="0">
                <a:latin typeface="IBM Plex Sans" panose="020B0503050203000203" pitchFamily="34" charset="0"/>
              </a:rPr>
            </a:br>
            <a:endParaRPr lang="en-US" sz="1350" dirty="0">
              <a:latin typeface="IBM Plex Sans" panose="020B0503050203000203" pitchFamily="34" charset="0"/>
              <a:cs typeface="Calibri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8DE2A2A-568B-45D5-9D1F-9144EFA9ADE3}"/>
              </a:ext>
            </a:extLst>
          </p:cNvPr>
          <p:cNvSpPr txBox="1"/>
          <p:nvPr/>
        </p:nvSpPr>
        <p:spPr>
          <a:xfrm>
            <a:off x="5344245" y="2651143"/>
            <a:ext cx="2748961" cy="48474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685800">
              <a:defRPr/>
            </a:pPr>
            <a:r>
              <a:rPr lang="en-US" sz="1350" dirty="0">
                <a:latin typeface="IBM Plex Sans" panose="020B0503050203000203" pitchFamily="34" charset="0"/>
                <a:ea typeface="+mn-lt"/>
                <a:cs typeface="Calibri" panose="020F0502020204030204"/>
              </a:rPr>
              <a:t>Never leave your devices unlocked and unattended.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5444A60-8DE5-49AE-ADCD-493CE968F25C}"/>
              </a:ext>
            </a:extLst>
          </p:cNvPr>
          <p:cNvSpPr txBox="1"/>
          <p:nvPr/>
        </p:nvSpPr>
        <p:spPr>
          <a:xfrm>
            <a:off x="5344245" y="1324534"/>
            <a:ext cx="2748961" cy="90024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685800">
              <a:defRPr/>
            </a:pPr>
            <a:r>
              <a:rPr lang="en-US" sz="1350" dirty="0">
                <a:latin typeface="IBM Plex Sans" panose="020B0503050203000203" pitchFamily="34" charset="0"/>
                <a:ea typeface="+mn-lt"/>
                <a:cs typeface="Calibri" panose="020F0502020204030204"/>
              </a:rPr>
              <a:t>Be cautious of links and attachments in emails – double check with the sender if you feel uneasy. </a:t>
            </a:r>
            <a:endParaRPr lang="en-US" sz="1350" dirty="0">
              <a:latin typeface="IBM Plex Sans" panose="020B0503050203000203" pitchFamily="34" charset="0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78738275"/>
      </p:ext>
    </p:extLst>
  </p:cSld>
  <p:clrMapOvr>
    <a:masterClrMapping/>
  </p:clrMapOvr>
  <p:transition spd="slow">
    <p:wipe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C326BB86-C5A2-4AAA-9E93-CB30B1D8E906}"/>
              </a:ext>
            </a:extLst>
          </p:cNvPr>
          <p:cNvSpPr txBox="1"/>
          <p:nvPr/>
        </p:nvSpPr>
        <p:spPr>
          <a:xfrm>
            <a:off x="611560" y="426556"/>
            <a:ext cx="8631074" cy="56169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685800">
              <a:defRPr/>
            </a:pPr>
            <a:r>
              <a:rPr lang="pl-PL" sz="3200" b="1" dirty="0">
                <a:latin typeface="IBM Plex Sans" panose="020B0503050203000203" pitchFamily="34" charset="0"/>
                <a:ea typeface="Segoe UI black"/>
                <a:cs typeface="Segoe UI black"/>
              </a:rPr>
              <a:t>Best Practices</a:t>
            </a:r>
          </a:p>
        </p:txBody>
      </p:sp>
      <p:pic>
        <p:nvPicPr>
          <p:cNvPr id="3" name="Picture 3" descr="A picture containing icon&#10;&#10;Description automatically generated">
            <a:extLst>
              <a:ext uri="{FF2B5EF4-FFF2-40B4-BE49-F238E27FC236}">
                <a16:creationId xmlns:a16="http://schemas.microsoft.com/office/drawing/2014/main" id="{229C826B-3DDA-43CC-BFC4-EED049C155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88249" y="1404994"/>
            <a:ext cx="544048" cy="540000"/>
          </a:xfrm>
          <a:prstGeom prst="rect">
            <a:avLst/>
          </a:prstGeom>
        </p:spPr>
      </p:pic>
      <p:pic>
        <p:nvPicPr>
          <p:cNvPr id="4" name="Picture 4" descr="A picture containing candelabra, object, drawing&#10;&#10;Description automatically generated">
            <a:extLst>
              <a:ext uri="{FF2B5EF4-FFF2-40B4-BE49-F238E27FC236}">
                <a16:creationId xmlns:a16="http://schemas.microsoft.com/office/drawing/2014/main" id="{CB806AC2-3541-49A1-9E23-BDF50DF8D15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5085" y="2332664"/>
            <a:ext cx="540000" cy="518741"/>
          </a:xfrm>
          <a:prstGeom prst="rect">
            <a:avLst/>
          </a:prstGeom>
        </p:spPr>
      </p:pic>
      <p:pic>
        <p:nvPicPr>
          <p:cNvPr id="5" name="Picture 5" descr="Logo&#10;&#10;Description automatically generated">
            <a:extLst>
              <a:ext uri="{FF2B5EF4-FFF2-40B4-BE49-F238E27FC236}">
                <a16:creationId xmlns:a16="http://schemas.microsoft.com/office/drawing/2014/main" id="{03A4C4F1-474C-4F85-9FC2-F10FFA2084F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5085" y="3240138"/>
            <a:ext cx="540000" cy="535890"/>
          </a:xfrm>
          <a:prstGeom prst="rect">
            <a:avLst/>
          </a:prstGeom>
        </p:spPr>
      </p:pic>
      <p:pic>
        <p:nvPicPr>
          <p:cNvPr id="6" name="Picture 8" descr="Icon&#10;&#10;Description automatically generated">
            <a:extLst>
              <a:ext uri="{FF2B5EF4-FFF2-40B4-BE49-F238E27FC236}">
                <a16:creationId xmlns:a16="http://schemas.microsoft.com/office/drawing/2014/main" id="{F05751E8-92C7-421D-974C-977066F4662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81826" y="3203081"/>
            <a:ext cx="543367" cy="540000"/>
          </a:xfrm>
          <a:prstGeom prst="rect">
            <a:avLst/>
          </a:prstGeom>
        </p:spPr>
      </p:pic>
      <p:pic>
        <p:nvPicPr>
          <p:cNvPr id="9" name="Picture 9" descr="Icon&#10;&#10;Description automatically generated">
            <a:extLst>
              <a:ext uri="{FF2B5EF4-FFF2-40B4-BE49-F238E27FC236}">
                <a16:creationId xmlns:a16="http://schemas.microsoft.com/office/drawing/2014/main" id="{37DE926F-402D-4ED0-AFEF-45942310B52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81500" y="2315089"/>
            <a:ext cx="544019" cy="540000"/>
          </a:xfrm>
          <a:prstGeom prst="rect">
            <a:avLst/>
          </a:prstGeom>
        </p:spPr>
      </p:pic>
      <p:pic>
        <p:nvPicPr>
          <p:cNvPr id="10" name="Picture 10" descr="A picture containing schematic&#10;&#10;Description automatically generated">
            <a:extLst>
              <a:ext uri="{FF2B5EF4-FFF2-40B4-BE49-F238E27FC236}">
                <a16:creationId xmlns:a16="http://schemas.microsoft.com/office/drawing/2014/main" id="{2A1B140B-F793-492B-ABB3-29D39F40B40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2914" y="1404994"/>
            <a:ext cx="544341" cy="5400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06503B1-260E-47FF-9314-CBDB785B4760}"/>
              </a:ext>
            </a:extLst>
          </p:cNvPr>
          <p:cNvSpPr txBox="1"/>
          <p:nvPr/>
        </p:nvSpPr>
        <p:spPr>
          <a:xfrm>
            <a:off x="1595789" y="1536763"/>
            <a:ext cx="2748961" cy="48474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685800">
              <a:defRPr/>
            </a:pPr>
            <a:r>
              <a:rPr lang="en-US" sz="1350" dirty="0">
                <a:latin typeface="IBM Plex Sans" panose="020B0503050203000203" pitchFamily="34" charset="0"/>
                <a:cs typeface="Segoe UI"/>
              </a:rPr>
              <a:t>Continuous vulnerability discovery</a:t>
            </a:r>
            <a:endParaRPr lang="en-US" sz="1350" dirty="0">
              <a:latin typeface="IBM Plex Sans" panose="020B0503050203000203" pitchFamily="34" charset="0"/>
              <a:cs typeface="Calibri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038F529-620C-469E-97DD-9FBAF531FA21}"/>
              </a:ext>
            </a:extLst>
          </p:cNvPr>
          <p:cNvSpPr txBox="1"/>
          <p:nvPr/>
        </p:nvSpPr>
        <p:spPr>
          <a:xfrm>
            <a:off x="1595789" y="2446589"/>
            <a:ext cx="2748961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685800">
              <a:defRPr/>
            </a:pPr>
            <a:r>
              <a:rPr lang="en-US" sz="1350" dirty="0">
                <a:latin typeface="IBM Plex Sans" panose="020B0503050203000203" pitchFamily="34" charset="0"/>
                <a:ea typeface="+mn-lt"/>
                <a:cs typeface="Calibri" panose="020F0502020204030204"/>
              </a:rPr>
              <a:t>Context-Aware Analysis</a:t>
            </a:r>
            <a:endParaRPr lang="en-US" sz="1350" dirty="0">
              <a:latin typeface="IBM Plex Sans" panose="020B0503050203000203" pitchFamily="34" charset="0"/>
              <a:cs typeface="Calibri"/>
            </a:endParaRPr>
          </a:p>
        </p:txBody>
      </p:sp>
      <p:pic>
        <p:nvPicPr>
          <p:cNvPr id="21" name="Picture 5" descr="Logo&#10;&#10;Description automatically generated">
            <a:extLst>
              <a:ext uri="{FF2B5EF4-FFF2-40B4-BE49-F238E27FC236}">
                <a16:creationId xmlns:a16="http://schemas.microsoft.com/office/drawing/2014/main" id="{92B5FE0A-AAA9-49A1-8903-3C64F07C511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5085" y="4176944"/>
            <a:ext cx="540000" cy="535890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4B5BCB8D-3549-4299-A933-15FA1203BFF5}"/>
              </a:ext>
            </a:extLst>
          </p:cNvPr>
          <p:cNvSpPr txBox="1"/>
          <p:nvPr/>
        </p:nvSpPr>
        <p:spPr>
          <a:xfrm>
            <a:off x="5664121" y="4257449"/>
            <a:ext cx="2748961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685800">
              <a:defRPr/>
            </a:pPr>
            <a:r>
              <a:rPr lang="en-US" sz="1350" dirty="0">
                <a:latin typeface="IBM Plex Sans" panose="020B0503050203000203" pitchFamily="34" charset="0"/>
                <a:cs typeface="Segoe UI"/>
              </a:rPr>
              <a:t>Prioritization 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75FEF98-D187-431E-A49B-5DB5FA563A6C}"/>
              </a:ext>
            </a:extLst>
          </p:cNvPr>
          <p:cNvSpPr txBox="1"/>
          <p:nvPr/>
        </p:nvSpPr>
        <p:spPr>
          <a:xfrm>
            <a:off x="1595789" y="4279259"/>
            <a:ext cx="2748961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685800">
              <a:defRPr/>
            </a:pPr>
            <a:r>
              <a:rPr lang="en-US" sz="1350" dirty="0">
                <a:latin typeface="IBM Plex Sans" panose="020B0503050203000203" pitchFamily="34" charset="0"/>
                <a:ea typeface="+mn-lt"/>
                <a:cs typeface="Calibri" panose="020F0502020204030204"/>
              </a:rPr>
              <a:t>Remediation and Tracking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0825242-DC30-4954-932D-F3D8B952CF2A}"/>
              </a:ext>
            </a:extLst>
          </p:cNvPr>
          <p:cNvSpPr txBox="1"/>
          <p:nvPr/>
        </p:nvSpPr>
        <p:spPr>
          <a:xfrm>
            <a:off x="5664121" y="1536763"/>
            <a:ext cx="2748961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685800">
              <a:defRPr/>
            </a:pPr>
            <a:r>
              <a:rPr lang="pl-PL" sz="1350" dirty="0">
                <a:latin typeface="IBM Plex Sans" panose="020B0503050203000203" pitchFamily="34" charset="0"/>
                <a:cs typeface="Segoe UI"/>
              </a:rPr>
              <a:t>Configuration reviews</a:t>
            </a:r>
            <a:endParaRPr lang="en-US" sz="1350" dirty="0">
              <a:latin typeface="IBM Plex Sans" panose="020B0503050203000203" pitchFamily="34" charset="0"/>
              <a:cs typeface="Calibri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2606A56-732A-40AB-81D2-91F8EED7A6ED}"/>
              </a:ext>
            </a:extLst>
          </p:cNvPr>
          <p:cNvSpPr txBox="1"/>
          <p:nvPr/>
        </p:nvSpPr>
        <p:spPr>
          <a:xfrm>
            <a:off x="5664121" y="2446589"/>
            <a:ext cx="2748961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685800">
              <a:defRPr/>
            </a:pPr>
            <a:r>
              <a:rPr lang="pl-PL" sz="1350" dirty="0">
                <a:latin typeface="IBM Plex Sans" panose="020B0503050203000203" pitchFamily="34" charset="0"/>
                <a:ea typeface="+mn-lt"/>
                <a:cs typeface="Calibri" panose="020F0502020204030204"/>
              </a:rPr>
              <a:t>Put on the Hacker’s Shoes</a:t>
            </a:r>
            <a:endParaRPr lang="en-US" sz="1350" dirty="0">
              <a:latin typeface="IBM Plex Sans" panose="020B0503050203000203" pitchFamily="34" charset="0"/>
              <a:cs typeface="Calibri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FBD021E-368A-4D4E-81C2-7903D35C263B}"/>
              </a:ext>
            </a:extLst>
          </p:cNvPr>
          <p:cNvSpPr txBox="1"/>
          <p:nvPr/>
        </p:nvSpPr>
        <p:spPr>
          <a:xfrm>
            <a:off x="5664121" y="3352019"/>
            <a:ext cx="2748961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685800">
              <a:defRPr/>
            </a:pPr>
            <a:r>
              <a:rPr lang="pl-PL" sz="1350" dirty="0">
                <a:latin typeface="IBM Plex Sans" panose="020B0503050203000203" pitchFamily="34" charset="0"/>
                <a:cs typeface="Segoe UI"/>
              </a:rPr>
              <a:t>Prevention is the key to success</a:t>
            </a:r>
            <a:r>
              <a:rPr lang="en-US" sz="1350" dirty="0">
                <a:latin typeface="IBM Plex Sans" panose="020B0503050203000203" pitchFamily="34" charset="0"/>
                <a:cs typeface="Segoe UI"/>
              </a:rPr>
              <a:t> 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6ADE973-22F6-4910-9E97-5501E1E18D28}"/>
              </a:ext>
            </a:extLst>
          </p:cNvPr>
          <p:cNvSpPr txBox="1"/>
          <p:nvPr/>
        </p:nvSpPr>
        <p:spPr>
          <a:xfrm>
            <a:off x="1595789" y="3161835"/>
            <a:ext cx="2748961" cy="6924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685800">
              <a:defRPr/>
            </a:pPr>
            <a:r>
              <a:rPr lang="en-US" sz="1350" dirty="0">
                <a:latin typeface="IBM Plex Sans" panose="020B0503050203000203" pitchFamily="34" charset="0"/>
                <a:ea typeface="+mn-lt"/>
                <a:cs typeface="Calibri" panose="020F0502020204030204"/>
              </a:rPr>
              <a:t>How can we know what to prevent if we do not know what is the threat? </a:t>
            </a:r>
          </a:p>
        </p:txBody>
      </p:sp>
      <p:pic>
        <p:nvPicPr>
          <p:cNvPr id="29" name="Picture 4" descr="A picture containing candelabra, object, drawing&#10;&#10;Description automatically generated">
            <a:extLst>
              <a:ext uri="{FF2B5EF4-FFF2-40B4-BE49-F238E27FC236}">
                <a16:creationId xmlns:a16="http://schemas.microsoft.com/office/drawing/2014/main" id="{DEF886B4-A7DC-4EE8-B65C-549E18528BC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62722" y="4176944"/>
            <a:ext cx="562131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9457296"/>
      </p:ext>
    </p:extLst>
  </p:cSld>
  <p:clrMapOvr>
    <a:masterClrMapping/>
  </p:clrMapOvr>
  <p:transition spd="slow">
    <p:wipe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D0245B-4B32-4F3E-80D8-5520C89E0DA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9087" y="1554656"/>
            <a:ext cx="8496944" cy="720080"/>
          </a:xfrm>
        </p:spPr>
        <p:txBody>
          <a:bodyPr>
            <a:normAutofit fontScale="90000"/>
          </a:bodyPr>
          <a:lstStyle/>
          <a:p>
            <a:r>
              <a:rPr lang="en-US" dirty="0"/>
              <a:t>Slides and demos from the conference will be available a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01563C6-7133-4BF2-86A6-BF91BD268DD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7544" y="2652741"/>
            <a:ext cx="8064896" cy="432048"/>
          </a:xfrm>
        </p:spPr>
        <p:txBody>
          <a:bodyPr/>
          <a:lstStyle/>
          <a:p>
            <a:r>
              <a:rPr lang="en-US" b="1" dirty="0"/>
              <a:t>https://github.com/nordicinfrastructureconference/2022</a:t>
            </a:r>
          </a:p>
        </p:txBody>
      </p:sp>
    </p:spTree>
    <p:extLst>
      <p:ext uri="{BB962C8B-B14F-4D97-AF65-F5344CB8AC3E}">
        <p14:creationId xmlns:p14="http://schemas.microsoft.com/office/powerpoint/2010/main" val="2391506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13D11C-3419-5BA9-5E11-08B00BAD63E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4000" b="1" dirty="0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39267010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4">
            <a:extLst>
              <a:ext uri="{FF2B5EF4-FFF2-40B4-BE49-F238E27FC236}">
                <a16:creationId xmlns:a16="http://schemas.microsoft.com/office/drawing/2014/main" id="{E88C8C47-2BA0-4FA2-9983-FE255A0303BF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77081" y="183296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pl-PL" b="1" dirty="0"/>
              <a:t>What does C</a:t>
            </a:r>
            <a:r>
              <a:rPr lang="pl-PL" b="1" dirty="0">
                <a:solidFill>
                  <a:srgbClr val="FDBA12"/>
                </a:solidFill>
              </a:rPr>
              <a:t>Q</a:t>
            </a:r>
            <a:r>
              <a:rPr lang="pl-PL" b="1" dirty="0"/>
              <a:t>URE do?</a:t>
            </a:r>
            <a:endParaRPr lang="en-US" b="1" dirty="0"/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6D67D854-BF8E-463D-9223-715F46E61196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423973" y="1203598"/>
            <a:ext cx="4086225" cy="3536950"/>
          </a:xfrm>
          <a:prstGeom prst="rect">
            <a:avLst/>
          </a:prstGeom>
        </p:spPr>
        <p:txBody>
          <a:bodyPr>
            <a:normAutofit fontScale="85000" lnSpcReduction="20000"/>
          </a:bodyPr>
          <a:lstStyle/>
          <a:p>
            <a:pPr>
              <a:lnSpc>
                <a:spcPct val="120000"/>
              </a:lnSpc>
              <a:spcBef>
                <a:spcPts val="0"/>
              </a:spcBef>
              <a:buFont typeface="+mj-lt"/>
              <a:buAutoNum type="arabicPeriod"/>
            </a:pPr>
            <a:r>
              <a:rPr lang="en-US" sz="1800" b="1" dirty="0"/>
              <a:t>Consulting Services:</a:t>
            </a:r>
          </a:p>
          <a:p>
            <a:pPr marL="600075" lvl="1" indent="-257175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500" dirty="0"/>
              <a:t>Extensive IT Security Audits and Penetration</a:t>
            </a:r>
            <a:r>
              <a:rPr lang="pl-PL" sz="1500" dirty="0"/>
              <a:t> </a:t>
            </a:r>
            <a:r>
              <a:rPr lang="en-US" sz="1500" dirty="0"/>
              <a:t>Tests</a:t>
            </a:r>
            <a:r>
              <a:rPr lang="pl-PL" sz="1500" dirty="0"/>
              <a:t> </a:t>
            </a:r>
            <a:r>
              <a:rPr lang="en-US" sz="1500" dirty="0"/>
              <a:t>of all kinds,</a:t>
            </a:r>
          </a:p>
          <a:p>
            <a:pPr marL="600075" lvl="1" indent="-257175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500" dirty="0"/>
              <a:t>Configuration Audit and Architecture,</a:t>
            </a:r>
          </a:p>
          <a:p>
            <a:pPr marL="600075" lvl="1" indent="-257175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500" dirty="0"/>
              <a:t>Design Social Engineering Tests,</a:t>
            </a:r>
          </a:p>
          <a:p>
            <a:pPr marL="600075" lvl="1" indent="-257175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500" dirty="0"/>
              <a:t>Advanced Troubleshooting and Debugging,</a:t>
            </a:r>
          </a:p>
          <a:p>
            <a:pPr marL="600075" lvl="1" indent="-257175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500" dirty="0"/>
              <a:t>Emergency Response Services</a:t>
            </a:r>
          </a:p>
          <a:p>
            <a:pPr>
              <a:lnSpc>
                <a:spcPct val="120000"/>
              </a:lnSpc>
              <a:spcBef>
                <a:spcPts val="0"/>
              </a:spcBef>
              <a:buFont typeface="+mj-lt"/>
              <a:buAutoNum type="arabicPeriod"/>
            </a:pPr>
            <a:endParaRPr lang="pl-PL" sz="1800" b="1" dirty="0"/>
          </a:p>
          <a:p>
            <a:pPr>
              <a:lnSpc>
                <a:spcPct val="120000"/>
              </a:lnSpc>
              <a:spcBef>
                <a:spcPts val="0"/>
              </a:spcBef>
              <a:buFont typeface="+mj-lt"/>
              <a:buAutoNum type="arabicPeriod"/>
            </a:pPr>
            <a:r>
              <a:rPr lang="en-US" sz="1800" b="1" dirty="0"/>
              <a:t>R&amp;D &amp; </a:t>
            </a:r>
            <a:r>
              <a:rPr lang="en-US" sz="1800" b="1" dirty="0" err="1"/>
              <a:t>CQLabs</a:t>
            </a:r>
            <a:r>
              <a:rPr lang="en-US" sz="1800" b="1" dirty="0"/>
              <a:t> Tools &amp; Hacks Publications</a:t>
            </a:r>
          </a:p>
          <a:p>
            <a:pPr>
              <a:lnSpc>
                <a:spcPct val="120000"/>
              </a:lnSpc>
              <a:spcBef>
                <a:spcPts val="0"/>
              </a:spcBef>
              <a:buFont typeface="+mj-lt"/>
              <a:buAutoNum type="arabicPeriod"/>
            </a:pPr>
            <a:endParaRPr lang="pl-PL" sz="1800" b="1" dirty="0"/>
          </a:p>
          <a:p>
            <a:pPr>
              <a:lnSpc>
                <a:spcPct val="120000"/>
              </a:lnSpc>
              <a:spcBef>
                <a:spcPts val="0"/>
              </a:spcBef>
              <a:buFont typeface="+mj-lt"/>
              <a:buAutoNum type="arabicPeriod"/>
            </a:pPr>
            <a:r>
              <a:rPr lang="en-US" sz="1800" b="1" dirty="0"/>
              <a:t>Trainings &amp; Seminars:</a:t>
            </a:r>
          </a:p>
          <a:p>
            <a:pPr marL="600075" lvl="1" indent="-257175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500" dirty="0"/>
              <a:t>Offline (mainly in New York or via our partners worldwide),</a:t>
            </a:r>
          </a:p>
          <a:p>
            <a:pPr marL="600075" lvl="1" indent="-257175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500" dirty="0"/>
              <a:t>Onlin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C7D1A5C-4A5E-4FC0-9D17-72F3E15CA9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48923" y="332246"/>
            <a:ext cx="3571104" cy="4131070"/>
          </a:xfrm>
          <a:prstGeom prst="rect">
            <a:avLst/>
          </a:prstGeom>
          <a:ln w="571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9325618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Table 27">
            <a:extLst>
              <a:ext uri="{FF2B5EF4-FFF2-40B4-BE49-F238E27FC236}">
                <a16:creationId xmlns:a16="http://schemas.microsoft.com/office/drawing/2014/main" id="{2B02E9F7-64BC-4783-B0C3-C50FD8B424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2087340"/>
              </p:ext>
            </p:extLst>
          </p:nvPr>
        </p:nvGraphicFramePr>
        <p:xfrm>
          <a:off x="24752" y="1798220"/>
          <a:ext cx="9094496" cy="3764282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2273624">
                  <a:extLst>
                    <a:ext uri="{9D8B030D-6E8A-4147-A177-3AD203B41FA5}">
                      <a16:colId xmlns:a16="http://schemas.microsoft.com/office/drawing/2014/main" val="2964428382"/>
                    </a:ext>
                  </a:extLst>
                </a:gridCol>
                <a:gridCol w="2273624">
                  <a:extLst>
                    <a:ext uri="{9D8B030D-6E8A-4147-A177-3AD203B41FA5}">
                      <a16:colId xmlns:a16="http://schemas.microsoft.com/office/drawing/2014/main" val="3629922883"/>
                    </a:ext>
                  </a:extLst>
                </a:gridCol>
                <a:gridCol w="2304256">
                  <a:extLst>
                    <a:ext uri="{9D8B030D-6E8A-4147-A177-3AD203B41FA5}">
                      <a16:colId xmlns:a16="http://schemas.microsoft.com/office/drawing/2014/main" val="981318754"/>
                    </a:ext>
                  </a:extLst>
                </a:gridCol>
                <a:gridCol w="2242992">
                  <a:extLst>
                    <a:ext uri="{9D8B030D-6E8A-4147-A177-3AD203B41FA5}">
                      <a16:colId xmlns:a16="http://schemas.microsoft.com/office/drawing/2014/main" val="636489038"/>
                    </a:ext>
                  </a:extLst>
                </a:gridCol>
              </a:tblGrid>
              <a:tr h="3764282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3600" b="1" dirty="0">
                          <a:solidFill>
                            <a:srgbClr val="343741"/>
                          </a:solidFill>
                          <a:latin typeface="IBM Plex Sans" panose="020B0503050203000203" pitchFamily="34" charset="0"/>
                        </a:rPr>
                        <a:t>316 days</a:t>
                      </a:r>
                    </a:p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400" b="0" i="0" kern="1200" dirty="0">
                          <a:solidFill>
                            <a:srgbClr val="34374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to locate and contain the breach, compared to the regular average of 287 days because of the remote work</a:t>
                      </a:r>
                      <a:endParaRPr lang="en-US" sz="1800" dirty="0">
                        <a:solidFill>
                          <a:srgbClr val="343741"/>
                        </a:solidFill>
                        <a:latin typeface="IBM Plex Sans" panose="020B0503050203000203" pitchFamily="34" charset="0"/>
                      </a:endParaRPr>
                    </a:p>
                  </a:txBody>
                  <a:tcPr marL="68297" marR="68297" marT="34148" marB="34148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3600" b="1" dirty="0">
                          <a:solidFill>
                            <a:srgbClr val="343741"/>
                          </a:solidFill>
                          <a:latin typeface="IBM Plex Sans" panose="020B0503050203000203" pitchFamily="34" charset="0"/>
                        </a:rPr>
                        <a:t>30% </a:t>
                      </a:r>
                    </a:p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400" b="0" dirty="0">
                          <a:solidFill>
                            <a:srgbClr val="343741"/>
                          </a:solidFill>
                          <a:latin typeface="IBM Plex Sans" panose="020B0503050203000203" pitchFamily="34" charset="0"/>
                        </a:rPr>
                        <a:t>This is how much businesses could save up if they could contain a breach within 200 days</a:t>
                      </a:r>
                    </a:p>
                  </a:txBody>
                  <a:tcPr marL="68297" marR="68297" marT="34148" marB="34148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3600" b="1" dirty="0">
                          <a:solidFill>
                            <a:srgbClr val="343741"/>
                          </a:solidFill>
                          <a:latin typeface="IBM Plex Sans" panose="020B0503050203000203" pitchFamily="34" charset="0"/>
                        </a:rPr>
                        <a:t>20% </a:t>
                      </a:r>
                      <a:endParaRPr lang="en-US" sz="3600" b="0" dirty="0">
                        <a:solidFill>
                          <a:srgbClr val="343741"/>
                        </a:solidFill>
                        <a:latin typeface="IBM Plex Sans" panose="020B0503050203000203" pitchFamily="34" charset="0"/>
                      </a:endParaRPr>
                    </a:p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400" b="0" dirty="0">
                          <a:solidFill>
                            <a:srgbClr val="343741"/>
                          </a:solidFill>
                          <a:latin typeface="IBM Plex Sans" panose="020B0503050203000203" pitchFamily="34" charset="0"/>
                        </a:rPr>
                        <a:t>Share of breaches </a:t>
                      </a:r>
                    </a:p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400" b="0" dirty="0">
                          <a:solidFill>
                            <a:srgbClr val="343741"/>
                          </a:solidFill>
                          <a:latin typeface="IBM Plex Sans" panose="020B0503050203000203" pitchFamily="34" charset="0"/>
                        </a:rPr>
                        <a:t>initially caused by </a:t>
                      </a:r>
                    </a:p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400" b="0" dirty="0">
                          <a:solidFill>
                            <a:srgbClr val="343741"/>
                          </a:solidFill>
                          <a:latin typeface="IBM Plex Sans" panose="020B0503050203000203" pitchFamily="34" charset="0"/>
                        </a:rPr>
                        <a:t>compromised credentials</a:t>
                      </a:r>
                    </a:p>
                  </a:txBody>
                  <a:tcPr marL="68297" marR="68297" marT="34148" marB="34148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3600" b="1" dirty="0">
                          <a:solidFill>
                            <a:srgbClr val="343741"/>
                          </a:solidFill>
                          <a:latin typeface="IBM Plex Sans" panose="020B0503050203000203" pitchFamily="34" charset="0"/>
                        </a:rPr>
                        <a:t>85% </a:t>
                      </a:r>
                    </a:p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400" b="0" dirty="0">
                          <a:solidFill>
                            <a:srgbClr val="343741"/>
                          </a:solidFill>
                          <a:latin typeface="IBM Plex Sans" panose="020B0503050203000203" pitchFamily="34" charset="0"/>
                        </a:rPr>
                        <a:t>of breaches involved the human element</a:t>
                      </a:r>
                    </a:p>
                  </a:txBody>
                  <a:tcPr marL="68297" marR="68297" marT="34148" marB="34148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40984802"/>
                  </a:ext>
                </a:extLst>
              </a:tr>
            </a:tbl>
          </a:graphicData>
        </a:graphic>
      </p:graphicFrame>
      <p:pic>
        <p:nvPicPr>
          <p:cNvPr id="28" name="Picture 3" descr="A picture containing icon&#10;&#10;Description automatically generated">
            <a:extLst>
              <a:ext uri="{FF2B5EF4-FFF2-40B4-BE49-F238E27FC236}">
                <a16:creationId xmlns:a16="http://schemas.microsoft.com/office/drawing/2014/main" id="{2DED81FB-7A9A-4FCB-928B-0284C17D4E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87960" y="1193224"/>
            <a:ext cx="678096" cy="673051"/>
          </a:xfrm>
          <a:prstGeom prst="rect">
            <a:avLst/>
          </a:prstGeom>
        </p:spPr>
      </p:pic>
      <p:pic>
        <p:nvPicPr>
          <p:cNvPr id="29" name="Picture 4" descr="A picture containing candelabra, object, drawing&#10;&#10;Description automatically generated">
            <a:extLst>
              <a:ext uri="{FF2B5EF4-FFF2-40B4-BE49-F238E27FC236}">
                <a16:creationId xmlns:a16="http://schemas.microsoft.com/office/drawing/2014/main" id="{105AA6F1-8860-4FFD-84A1-5AEB1EF8200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57369" y="1189998"/>
            <a:ext cx="728886" cy="700190"/>
          </a:xfrm>
          <a:prstGeom prst="rect">
            <a:avLst/>
          </a:prstGeom>
        </p:spPr>
      </p:pic>
      <p:pic>
        <p:nvPicPr>
          <p:cNvPr id="31" name="Picture 10" descr="A picture containing schematic&#10;&#10;Description automatically generated">
            <a:extLst>
              <a:ext uri="{FF2B5EF4-FFF2-40B4-BE49-F238E27FC236}">
                <a16:creationId xmlns:a16="http://schemas.microsoft.com/office/drawing/2014/main" id="{31C1D763-827A-41A4-974C-0CF9B87BB36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37231" y="1167115"/>
            <a:ext cx="728886" cy="723073"/>
          </a:xfrm>
          <a:prstGeom prst="rect">
            <a:avLst/>
          </a:prstGeom>
        </p:spPr>
      </p:pic>
      <p:pic>
        <p:nvPicPr>
          <p:cNvPr id="33" name="Picture 5" descr="Logo&#10;&#10;Description automatically generated">
            <a:extLst>
              <a:ext uri="{FF2B5EF4-FFF2-40B4-BE49-F238E27FC236}">
                <a16:creationId xmlns:a16="http://schemas.microsoft.com/office/drawing/2014/main" id="{260CDAC2-12B5-4E19-AC44-86E84FFC271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77944" y="1228260"/>
            <a:ext cx="628449" cy="623666"/>
          </a:xfrm>
          <a:prstGeom prst="rect">
            <a:avLst/>
          </a:prstGeom>
        </p:spPr>
      </p:pic>
      <p:sp>
        <p:nvSpPr>
          <p:cNvPr id="11" name="Title 10">
            <a:extLst>
              <a:ext uri="{FF2B5EF4-FFF2-40B4-BE49-F238E27FC236}">
                <a16:creationId xmlns:a16="http://schemas.microsoft.com/office/drawing/2014/main" id="{6F867603-9F57-4852-B893-C322CFE31669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23528" y="70172"/>
            <a:ext cx="8229600" cy="914400"/>
          </a:xfrm>
        </p:spPr>
        <p:txBody>
          <a:bodyPr/>
          <a:lstStyle/>
          <a:p>
            <a:r>
              <a:rPr lang="en-US" b="1" dirty="0"/>
              <a:t>Impactful Hacking Stats – 2021 Summary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B1DEBA7-B027-467A-9322-1477F7808440}"/>
              </a:ext>
            </a:extLst>
          </p:cNvPr>
          <p:cNvSpPr txBox="1"/>
          <p:nvPr/>
        </p:nvSpPr>
        <p:spPr>
          <a:xfrm>
            <a:off x="24752" y="4600645"/>
            <a:ext cx="4579730" cy="2609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96" dirty="0">
                <a:solidFill>
                  <a:srgbClr val="343741"/>
                </a:solidFill>
                <a:latin typeface="IBM Plex Sans" panose="020B0503050203000203" pitchFamily="34" charset="0"/>
              </a:rPr>
              <a:t>Source: Trend Micro, IBM,  Verizon (2021)</a:t>
            </a:r>
          </a:p>
        </p:txBody>
      </p:sp>
    </p:spTree>
    <p:extLst>
      <p:ext uri="{BB962C8B-B14F-4D97-AF65-F5344CB8AC3E}">
        <p14:creationId xmlns:p14="http://schemas.microsoft.com/office/powerpoint/2010/main" val="2146656937"/>
      </p:ext>
    </p:extLst>
  </p:cSld>
  <p:clrMapOvr>
    <a:masterClrMapping/>
  </p:clrMapOvr>
  <p:transition spd="slow">
    <p:wip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21"/>
          <p:cNvSpPr txBox="1">
            <a:spLocks noChangeArrowheads="1"/>
          </p:cNvSpPr>
          <p:nvPr/>
        </p:nvSpPr>
        <p:spPr bwMode="auto">
          <a:xfrm>
            <a:off x="668512" y="3041862"/>
            <a:ext cx="2934603" cy="4528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508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tIns="0" bIns="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defTabSz="685783">
              <a:spcBef>
                <a:spcPct val="20000"/>
              </a:spcBef>
              <a:defRPr/>
            </a:pPr>
            <a:r>
              <a:rPr lang="en-US" sz="1125" dirty="0">
                <a:latin typeface="IBM Plex Sans" panose="020B0503050203000203" pitchFamily="34" charset="0"/>
                <a:cs typeface="Arial" charset="0"/>
              </a:rPr>
              <a:t>Who use a personal electronic device for work-related functions say their company has not implemented a BYOD policy </a:t>
            </a:r>
          </a:p>
        </p:txBody>
      </p:sp>
      <p:sp>
        <p:nvSpPr>
          <p:cNvPr id="18" name="TextBox 29"/>
          <p:cNvSpPr txBox="1">
            <a:spLocks noChangeArrowheads="1"/>
          </p:cNvSpPr>
          <p:nvPr/>
        </p:nvSpPr>
        <p:spPr bwMode="auto">
          <a:xfrm>
            <a:off x="3596881" y="2356319"/>
            <a:ext cx="820414" cy="5459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508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tIns="0" bIns="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ctr" defTabSz="685783">
              <a:spcBef>
                <a:spcPct val="20000"/>
              </a:spcBef>
              <a:defRPr/>
            </a:pPr>
            <a:r>
              <a:rPr lang="en-US" sz="2700" b="1" dirty="0">
                <a:solidFill>
                  <a:srgbClr val="FDBA12"/>
                </a:solidFill>
                <a:latin typeface="IBM Plex Sans" panose="020B0503050203000203" pitchFamily="34" charset="0"/>
                <a:cs typeface="Arial" charset="0"/>
              </a:rPr>
              <a:t>31</a:t>
            </a:r>
            <a:r>
              <a:rPr lang="en-US" sz="1200" b="1" dirty="0">
                <a:solidFill>
                  <a:srgbClr val="FDBA12"/>
                </a:solidFill>
                <a:latin typeface="IBM Plex Sans" panose="020B0503050203000203" pitchFamily="34" charset="0"/>
                <a:cs typeface="Arial" charset="0"/>
              </a:rPr>
              <a:t>%</a:t>
            </a:r>
          </a:p>
        </p:txBody>
      </p:sp>
      <p:sp>
        <p:nvSpPr>
          <p:cNvPr id="19" name="TextBox 23"/>
          <p:cNvSpPr txBox="1">
            <a:spLocks noChangeArrowheads="1"/>
          </p:cNvSpPr>
          <p:nvPr/>
        </p:nvSpPr>
        <p:spPr bwMode="auto">
          <a:xfrm>
            <a:off x="1425324" y="3657725"/>
            <a:ext cx="2177791" cy="518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508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tIns="0" bIns="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defTabSz="685783">
              <a:spcBef>
                <a:spcPct val="20000"/>
              </a:spcBef>
              <a:defRPr/>
            </a:pPr>
            <a:r>
              <a:rPr lang="en-US" sz="1125" dirty="0">
                <a:latin typeface="IBM Plex Sans" panose="020B0503050203000203" pitchFamily="34" charset="0"/>
                <a:cs typeface="Arial" charset="0"/>
              </a:rPr>
              <a:t>Who use a personal device for </a:t>
            </a:r>
            <a:br>
              <a:rPr lang="en-US" sz="1125" dirty="0">
                <a:latin typeface="IBM Plex Sans" panose="020B0503050203000203" pitchFamily="34" charset="0"/>
                <a:cs typeface="Arial" charset="0"/>
              </a:rPr>
            </a:br>
            <a:r>
              <a:rPr lang="en-US" sz="1125" dirty="0">
                <a:latin typeface="IBM Plex Sans" panose="020B0503050203000203" pitchFamily="34" charset="0"/>
                <a:cs typeface="Arial" charset="0"/>
              </a:rPr>
              <a:t>work let someone else use it</a:t>
            </a:r>
          </a:p>
        </p:txBody>
      </p:sp>
      <p:pic>
        <p:nvPicPr>
          <p:cNvPr id="20" name="Picture 19" descr="phone-icon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6813" y="2988886"/>
            <a:ext cx="720287" cy="1307477"/>
          </a:xfrm>
          <a:prstGeom prst="rect">
            <a:avLst/>
          </a:prstGeom>
        </p:spPr>
      </p:pic>
      <p:pic>
        <p:nvPicPr>
          <p:cNvPr id="21" name="Picture 20" descr="tablet-icon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6680" y="3008105"/>
            <a:ext cx="1259966" cy="1688705"/>
          </a:xfrm>
          <a:prstGeom prst="rect">
            <a:avLst/>
          </a:prstGeom>
        </p:spPr>
      </p:pic>
      <p:pic>
        <p:nvPicPr>
          <p:cNvPr id="22" name="Picture 21" descr="laptop-icon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0230" y="1655422"/>
            <a:ext cx="1830302" cy="1184612"/>
          </a:xfrm>
          <a:prstGeom prst="rect">
            <a:avLst/>
          </a:prstGeom>
        </p:spPr>
      </p:pic>
      <p:sp>
        <p:nvSpPr>
          <p:cNvPr id="23" name="TextBox 11"/>
          <p:cNvSpPr txBox="1">
            <a:spLocks noChangeArrowheads="1"/>
          </p:cNvSpPr>
          <p:nvPr/>
        </p:nvSpPr>
        <p:spPr bwMode="auto">
          <a:xfrm>
            <a:off x="3607570" y="3043877"/>
            <a:ext cx="820414" cy="3799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508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tIns="0" bIns="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defTabSz="685783">
              <a:spcBef>
                <a:spcPct val="20000"/>
              </a:spcBef>
              <a:defRPr/>
            </a:pPr>
            <a:r>
              <a:rPr lang="en-US" sz="2700" b="1" dirty="0">
                <a:solidFill>
                  <a:srgbClr val="FDBA12"/>
                </a:solidFill>
                <a:latin typeface="IBM Plex Sans" panose="020B0503050203000203" pitchFamily="34" charset="0"/>
                <a:cs typeface="Arial" charset="0"/>
              </a:rPr>
              <a:t>66</a:t>
            </a:r>
            <a:r>
              <a:rPr lang="en-US" sz="1200" b="1" dirty="0">
                <a:solidFill>
                  <a:srgbClr val="FDBA12"/>
                </a:solidFill>
                <a:latin typeface="IBM Plex Sans" panose="020B0503050203000203" pitchFamily="34" charset="0"/>
                <a:cs typeface="Arial" charset="0"/>
              </a:rPr>
              <a:t>%</a:t>
            </a:r>
          </a:p>
        </p:txBody>
      </p:sp>
      <p:sp>
        <p:nvSpPr>
          <p:cNvPr id="24" name="TextBox 29"/>
          <p:cNvSpPr txBox="1">
            <a:spLocks noChangeArrowheads="1"/>
          </p:cNvSpPr>
          <p:nvPr/>
        </p:nvSpPr>
        <p:spPr bwMode="auto">
          <a:xfrm>
            <a:off x="3590647" y="3629971"/>
            <a:ext cx="820414" cy="5459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508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tIns="0" bIns="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ctr" defTabSz="685783">
              <a:spcBef>
                <a:spcPct val="20000"/>
              </a:spcBef>
              <a:defRPr/>
            </a:pPr>
            <a:r>
              <a:rPr lang="en-US" sz="2700" b="1" dirty="0">
                <a:solidFill>
                  <a:srgbClr val="FDBA12"/>
                </a:solidFill>
                <a:latin typeface="IBM Plex Sans" panose="020B0503050203000203" pitchFamily="34" charset="0"/>
                <a:cs typeface="Arial" charset="0"/>
              </a:rPr>
              <a:t>46</a:t>
            </a:r>
            <a:r>
              <a:rPr lang="en-US" sz="1200" b="1" dirty="0">
                <a:solidFill>
                  <a:srgbClr val="FDBA12"/>
                </a:solidFill>
                <a:latin typeface="IBM Plex Sans" panose="020B0503050203000203" pitchFamily="34" charset="0"/>
                <a:cs typeface="Arial" charset="0"/>
              </a:rPr>
              <a:t>%</a:t>
            </a:r>
          </a:p>
        </p:txBody>
      </p:sp>
      <p:sp>
        <p:nvSpPr>
          <p:cNvPr id="25" name="TextBox 11"/>
          <p:cNvSpPr txBox="1">
            <a:spLocks noChangeArrowheads="1"/>
          </p:cNvSpPr>
          <p:nvPr/>
        </p:nvSpPr>
        <p:spPr bwMode="auto">
          <a:xfrm>
            <a:off x="3603115" y="1836772"/>
            <a:ext cx="807946" cy="3799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508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tIns="0" bIns="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defTabSz="685783">
              <a:spcBef>
                <a:spcPct val="20000"/>
              </a:spcBef>
              <a:defRPr/>
            </a:pPr>
            <a:r>
              <a:rPr lang="en-US" sz="2700" b="1" dirty="0">
                <a:solidFill>
                  <a:srgbClr val="FDBA12"/>
                </a:solidFill>
                <a:latin typeface="IBM Plex Sans" panose="020B0503050203000203" pitchFamily="34" charset="0"/>
                <a:cs typeface="Arial" charset="0"/>
              </a:rPr>
              <a:t>81</a:t>
            </a:r>
            <a:r>
              <a:rPr lang="en-US" sz="1200" b="1" dirty="0">
                <a:solidFill>
                  <a:srgbClr val="FDBA12"/>
                </a:solidFill>
                <a:latin typeface="IBM Plex Sans" panose="020B0503050203000203" pitchFamily="34" charset="0"/>
                <a:cs typeface="Arial" charset="0"/>
              </a:rPr>
              <a:t>%</a:t>
            </a:r>
          </a:p>
        </p:txBody>
      </p:sp>
      <p:sp>
        <p:nvSpPr>
          <p:cNvPr id="26" name="TextBox 12"/>
          <p:cNvSpPr txBox="1">
            <a:spLocks noChangeArrowheads="1"/>
          </p:cNvSpPr>
          <p:nvPr/>
        </p:nvSpPr>
        <p:spPr bwMode="auto">
          <a:xfrm>
            <a:off x="1346300" y="1826574"/>
            <a:ext cx="2272739" cy="4211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508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tIns="0" bIns="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defTabSz="685783">
              <a:spcBef>
                <a:spcPct val="20000"/>
              </a:spcBef>
              <a:defRPr/>
            </a:pPr>
            <a:r>
              <a:rPr lang="en-US" sz="1125" dirty="0">
                <a:latin typeface="IBM Plex Sans" panose="020B0503050203000203" pitchFamily="34" charset="0"/>
                <a:cs typeface="Arial" charset="0"/>
              </a:rPr>
              <a:t>Use a personal electronic device </a:t>
            </a:r>
            <a:br>
              <a:rPr lang="en-US" sz="1125" dirty="0">
                <a:latin typeface="IBM Plex Sans" panose="020B0503050203000203" pitchFamily="34" charset="0"/>
                <a:cs typeface="Arial" charset="0"/>
              </a:rPr>
            </a:br>
            <a:r>
              <a:rPr lang="en-US" sz="1125" dirty="0">
                <a:latin typeface="IBM Plex Sans" panose="020B0503050203000203" pitchFamily="34" charset="0"/>
                <a:cs typeface="Arial" charset="0"/>
              </a:rPr>
              <a:t>for work-related functions</a:t>
            </a:r>
          </a:p>
        </p:txBody>
      </p:sp>
      <p:sp>
        <p:nvSpPr>
          <p:cNvPr id="27" name="TextBox 22"/>
          <p:cNvSpPr txBox="1">
            <a:spLocks noChangeArrowheads="1"/>
          </p:cNvSpPr>
          <p:nvPr/>
        </p:nvSpPr>
        <p:spPr bwMode="auto">
          <a:xfrm>
            <a:off x="1346300" y="2365535"/>
            <a:ext cx="2262845" cy="4710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508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tIns="0" bIns="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defTabSz="685783">
              <a:spcBef>
                <a:spcPct val="20000"/>
              </a:spcBef>
              <a:defRPr/>
            </a:pPr>
            <a:r>
              <a:rPr lang="en-US" sz="1125" dirty="0">
                <a:latin typeface="IBM Plex Sans" panose="020B0503050203000203" pitchFamily="34" charset="0"/>
                <a:cs typeface="Arial" charset="0"/>
              </a:rPr>
              <a:t>Connect to a company via a </a:t>
            </a:r>
            <a:br>
              <a:rPr lang="en-US" sz="1125" dirty="0">
                <a:latin typeface="IBM Plex Sans" panose="020B0503050203000203" pitchFamily="34" charset="0"/>
                <a:cs typeface="Arial" charset="0"/>
              </a:rPr>
            </a:br>
            <a:r>
              <a:rPr lang="en-US" sz="1125" dirty="0">
                <a:latin typeface="IBM Plex Sans" panose="020B0503050203000203" pitchFamily="34" charset="0"/>
                <a:cs typeface="Arial" charset="0"/>
              </a:rPr>
              <a:t>free or public </a:t>
            </a:r>
            <a:r>
              <a:rPr lang="en-US" sz="1125" dirty="0" err="1">
                <a:latin typeface="IBM Plex Sans" panose="020B0503050203000203" pitchFamily="34" charset="0"/>
                <a:cs typeface="Arial" charset="0"/>
              </a:rPr>
              <a:t>wi-fi</a:t>
            </a:r>
            <a:r>
              <a:rPr lang="en-US" sz="1125" dirty="0">
                <a:latin typeface="IBM Plex Sans" panose="020B0503050203000203" pitchFamily="34" charset="0"/>
                <a:cs typeface="Arial" charset="0"/>
              </a:rPr>
              <a:t> connection</a:t>
            </a:r>
          </a:p>
        </p:txBody>
      </p:sp>
      <p:sp>
        <p:nvSpPr>
          <p:cNvPr id="28" name="Title 1"/>
          <p:cNvSpPr txBox="1">
            <a:spLocks/>
          </p:cNvSpPr>
          <p:nvPr/>
        </p:nvSpPr>
        <p:spPr>
          <a:xfrm>
            <a:off x="1330374" y="318031"/>
            <a:ext cx="2857500" cy="364331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200" b="1" i="0" kern="1200" cap="all" baseline="0">
                <a:solidFill>
                  <a:schemeClr val="tx1"/>
                </a:solidFill>
                <a:latin typeface="Arial"/>
                <a:ea typeface="ＭＳ Ｐゴシック" pitchFamily="-1" charset="-128"/>
                <a:cs typeface="Arial"/>
              </a:defRPr>
            </a:lvl1pPr>
            <a:lvl2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-1" charset="0"/>
                <a:ea typeface="ＭＳ Ｐゴシック" pitchFamily="-1" charset="-128"/>
                <a:cs typeface="ＭＳ Ｐゴシック" pitchFamily="-1" charset="-128"/>
              </a:defRPr>
            </a:lvl2pPr>
            <a:lvl3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-1" charset="0"/>
                <a:ea typeface="ＭＳ Ｐゴシック" pitchFamily="-1" charset="-128"/>
                <a:cs typeface="ＭＳ Ｐゴシック" pitchFamily="-1" charset="-128"/>
              </a:defRPr>
            </a:lvl3pPr>
            <a:lvl4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-1" charset="0"/>
                <a:ea typeface="ＭＳ Ｐゴシック" pitchFamily="-1" charset="-128"/>
                <a:cs typeface="ＭＳ Ｐゴシック" pitchFamily="-1" charset="-128"/>
              </a:defRPr>
            </a:lvl4pPr>
            <a:lvl5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-1" charset="0"/>
                <a:ea typeface="ＭＳ Ｐゴシック" pitchFamily="-1" charset="-128"/>
                <a:cs typeface="ＭＳ Ｐゴシック" pitchFamily="-1" charset="-128"/>
              </a:defRPr>
            </a:lvl5pPr>
            <a:lvl6pPr marL="4572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-1" charset="0"/>
                <a:ea typeface="ＭＳ Ｐゴシック" pitchFamily="-1" charset="-128"/>
                <a:cs typeface="ＭＳ Ｐゴシック" pitchFamily="-1" charset="-128"/>
              </a:defRPr>
            </a:lvl6pPr>
            <a:lvl7pPr marL="9144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-1" charset="0"/>
                <a:ea typeface="ＭＳ Ｐゴシック" pitchFamily="-1" charset="-128"/>
                <a:cs typeface="ＭＳ Ｐゴシック" pitchFamily="-1" charset="-128"/>
              </a:defRPr>
            </a:lvl7pPr>
            <a:lvl8pPr marL="13716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-1" charset="0"/>
                <a:ea typeface="ＭＳ Ｐゴシック" pitchFamily="-1" charset="-128"/>
                <a:cs typeface="ＭＳ Ｐゴシック" pitchFamily="-1" charset="-128"/>
              </a:defRPr>
            </a:lvl8pPr>
            <a:lvl9pPr marL="18288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-1" charset="0"/>
                <a:ea typeface="ＭＳ Ｐゴシック" pitchFamily="-1" charset="-128"/>
                <a:cs typeface="ＭＳ Ｐゴシック" pitchFamily="-1" charset="-128"/>
              </a:defRPr>
            </a:lvl9pPr>
          </a:lstStyle>
          <a:p>
            <a:pPr defTabSz="342892">
              <a:defRPr/>
            </a:pPr>
            <a:endParaRPr lang="en-US" sz="1650" dirty="0">
              <a:latin typeface="IBM Plex Sans" panose="020B0503050203000203" pitchFamily="34" charset="0"/>
              <a:cs typeface="Arial Bold" pitchFamily="-65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52D04C4A-278C-475C-A67A-B8D842D6428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13184" y="156310"/>
            <a:ext cx="8229600" cy="914400"/>
          </a:xfrm>
        </p:spPr>
        <p:txBody>
          <a:bodyPr/>
          <a:lstStyle/>
          <a:p>
            <a:r>
              <a:rPr lang="en-US" b="1" dirty="0">
                <a:solidFill>
                  <a:srgbClr val="FDBA12"/>
                </a:solidFill>
              </a:rPr>
              <a:t>Remote work </a:t>
            </a:r>
            <a:r>
              <a:rPr lang="en-US" b="1" dirty="0">
                <a:solidFill>
                  <a:schemeClr val="tx1"/>
                </a:solidFill>
              </a:rPr>
              <a:t>by the numbers 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53A1F8E-DF04-4EC6-BAF7-C751AA2255C3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0" y="1101725"/>
            <a:ext cx="8035925" cy="420688"/>
          </a:xfrm>
        </p:spPr>
        <p:txBody>
          <a:bodyPr>
            <a:normAutofit fontScale="92500" lnSpcReduction="20000"/>
          </a:bodyPr>
          <a:lstStyle/>
          <a:p>
            <a:r>
              <a:rPr lang="en-US" sz="1400" dirty="0">
                <a:solidFill>
                  <a:schemeClr val="tx1"/>
                </a:solidFill>
              </a:rPr>
              <a:t>PEOPLE WILL USE THEIR PERSONAL MOBILE DEVICES ON THE JOB, REGARDLESS OF WHETHER THEIR ORGANIZATION HAS A FORMAL ‘BYOD’ POLICY</a:t>
            </a:r>
          </a:p>
          <a:p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" name="TextBox 6">
            <a:extLst>
              <a:ext uri="{FF2B5EF4-FFF2-40B4-BE49-F238E27FC236}">
                <a16:creationId xmlns:a16="http://schemas.microsoft.com/office/drawing/2014/main" id="{DA5C479B-BF71-4E4F-AAF6-6229E751E09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7138" y="4563455"/>
            <a:ext cx="4795405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sz="700" b="1" dirty="0">
                <a:latin typeface="IBM Plex Sans" panose="020B0503050203000203" pitchFamily="34" charset="0"/>
              </a:rPr>
              <a:t>SOURCE: </a:t>
            </a:r>
            <a:r>
              <a:rPr lang="en-US" sz="700" dirty="0">
                <a:latin typeface="IBM Plex Sans" panose="020B0503050203000203" pitchFamily="34" charset="0"/>
              </a:rPr>
              <a:t>ESET, Harris Interactive</a:t>
            </a:r>
          </a:p>
        </p:txBody>
      </p:sp>
    </p:spTree>
    <p:extLst>
      <p:ext uri="{BB962C8B-B14F-4D97-AF65-F5344CB8AC3E}">
        <p14:creationId xmlns:p14="http://schemas.microsoft.com/office/powerpoint/2010/main" val="4595016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03F7C0-618F-D321-9081-D10765C32EC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latin typeface="Segoe UI Black"/>
                <a:ea typeface="+mn-ea"/>
                <a:cs typeface="+mn-cs"/>
              </a:rPr>
              <a:t>Six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 Black"/>
                <a:ea typeface="+mn-ea"/>
                <a:cs typeface="+mn-cs"/>
              </a:rPr>
              <a:t> Techniques to Have Your Infrastructure Prepared for a Battle </a:t>
            </a:r>
          </a:p>
        </p:txBody>
      </p:sp>
    </p:spTree>
    <p:extLst>
      <p:ext uri="{BB962C8B-B14F-4D97-AF65-F5344CB8AC3E}">
        <p14:creationId xmlns:p14="http://schemas.microsoft.com/office/powerpoint/2010/main" val="32909541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85ED10-54DD-4023-9315-ED3CD119C39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#1</a:t>
            </a:r>
            <a:r>
              <a:rPr lang="en-US" dirty="0">
                <a:solidFill>
                  <a:srgbClr val="EB5C26"/>
                </a:solidFill>
              </a:rPr>
              <a:t> </a:t>
            </a:r>
            <a:r>
              <a:rPr lang="en-US" dirty="0"/>
              <a:t>Well Configured Firewall</a:t>
            </a:r>
          </a:p>
        </p:txBody>
      </p:sp>
    </p:spTree>
    <p:extLst>
      <p:ext uri="{BB962C8B-B14F-4D97-AF65-F5344CB8AC3E}">
        <p14:creationId xmlns:p14="http://schemas.microsoft.com/office/powerpoint/2010/main" val="3403511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8">
            <a:extLst>
              <a:ext uri="{FF2B5EF4-FFF2-40B4-BE49-F238E27FC236}">
                <a16:creationId xmlns:a16="http://schemas.microsoft.com/office/drawing/2014/main" id="{ABBA6D41-1304-4BF3-ADE4-695C57D302C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2829" r="16346"/>
          <a:stretch/>
        </p:blipFill>
        <p:spPr>
          <a:xfrm>
            <a:off x="5095189" y="1186397"/>
            <a:ext cx="3846893" cy="3265908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FC295F90-250D-4D04-9053-D338CABF663C}"/>
              </a:ext>
            </a:extLst>
          </p:cNvPr>
          <p:cNvSpPr/>
          <p:nvPr/>
        </p:nvSpPr>
        <p:spPr>
          <a:xfrm>
            <a:off x="202356" y="1186397"/>
            <a:ext cx="4614863" cy="3254061"/>
          </a:xfrm>
          <a:prstGeom prst="rect">
            <a:avLst/>
          </a:prstGeom>
          <a:solidFill>
            <a:srgbClr val="FDBA12"/>
          </a:solidFill>
          <a:ln>
            <a:solidFill>
              <a:srgbClr val="FDBA1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Segoe UI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  <p:custDataLst>
              <p:tags r:id="rId1"/>
            </p:custDataLst>
          </p:nvPr>
        </p:nvSpPr>
        <p:spPr>
          <a:xfrm>
            <a:off x="380440" y="104356"/>
            <a:ext cx="8229600" cy="914400"/>
          </a:xfrm>
        </p:spPr>
        <p:txBody>
          <a:bodyPr>
            <a:normAutofit/>
          </a:bodyPr>
          <a:lstStyle/>
          <a:p>
            <a:r>
              <a:rPr lang="en-US" b="1" dirty="0">
                <a:solidFill>
                  <a:srgbClr val="FDBA12"/>
                </a:solidFill>
              </a:rPr>
              <a:t>#1 </a:t>
            </a:r>
            <a:r>
              <a:rPr lang="en-US" b="1" dirty="0"/>
              <a:t>Well Configured Firewall</a:t>
            </a:r>
          </a:p>
        </p:txBody>
      </p:sp>
      <p:sp>
        <p:nvSpPr>
          <p:cNvPr id="16" name="Rectangle 15"/>
          <p:cNvSpPr/>
          <p:nvPr/>
        </p:nvSpPr>
        <p:spPr bwMode="auto">
          <a:xfrm>
            <a:off x="201918" y="1252891"/>
            <a:ext cx="4614863" cy="3176274"/>
          </a:xfrm>
          <a:prstGeom prst="rect">
            <a:avLst/>
          </a:prstGeom>
          <a:solidFill>
            <a:srgbClr val="FDBA1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201695" tIns="100848" rIns="67229" bIns="100848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249774" lvl="1" indent="-238103" defTabSz="685800">
              <a:spcBef>
                <a:spcPts val="450"/>
              </a:spcBef>
              <a:buSzPct val="90000"/>
              <a:buBlip>
                <a:blip r:embed="rId5"/>
              </a:buBlip>
              <a:defRPr/>
            </a:pPr>
            <a:r>
              <a:rPr lang="pl-PL" sz="1700" b="1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Key learning points:</a:t>
            </a:r>
          </a:p>
          <a:p>
            <a:pPr marL="592662" lvl="2" indent="-238103" defTabSz="685800">
              <a:spcBef>
                <a:spcPts val="450"/>
              </a:spcBef>
              <a:buSzPct val="90000"/>
              <a:buBlip>
                <a:blip r:embed="rId5"/>
              </a:buBlip>
              <a:defRPr/>
            </a:pPr>
            <a:r>
              <a:rPr lang="en-US" sz="1700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Windows Firewall is often misconfigured</a:t>
            </a:r>
          </a:p>
          <a:p>
            <a:pPr marL="592662" lvl="2" indent="-238103" defTabSz="685800">
              <a:spcBef>
                <a:spcPts val="450"/>
              </a:spcBef>
              <a:buSzPct val="90000"/>
              <a:buBlip>
                <a:blip r:embed="rId5"/>
              </a:buBlip>
              <a:defRPr/>
            </a:pPr>
            <a:r>
              <a:rPr lang="en-US" sz="1700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Firewall is a great segmentation tool</a:t>
            </a:r>
          </a:p>
          <a:p>
            <a:pPr marL="592662" lvl="2" indent="-238103" defTabSz="685800">
              <a:spcBef>
                <a:spcPts val="450"/>
              </a:spcBef>
              <a:buSzPct val="90000"/>
              <a:buBlip>
                <a:blip r:embed="rId5"/>
              </a:buBlip>
              <a:defRPr/>
            </a:pPr>
            <a:r>
              <a:rPr lang="en-US" sz="1700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You can allow only certain processes to communicate with the Internet or locally </a:t>
            </a:r>
          </a:p>
          <a:p>
            <a:pPr marL="592662" lvl="2" indent="-238103" defTabSz="685800">
              <a:spcBef>
                <a:spcPts val="450"/>
              </a:spcBef>
              <a:buSzPct val="90000"/>
              <a:buBlip>
                <a:blip r:embed="rId5"/>
              </a:buBlip>
              <a:defRPr/>
            </a:pPr>
            <a:r>
              <a:rPr lang="en-US" sz="1700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No need-to-know processes to block them, you can operate on the services list</a:t>
            </a:r>
          </a:p>
        </p:txBody>
      </p:sp>
    </p:spTree>
    <p:extLst>
      <p:ext uri="{BB962C8B-B14F-4D97-AF65-F5344CB8AC3E}">
        <p14:creationId xmlns:p14="http://schemas.microsoft.com/office/powerpoint/2010/main" val="40247822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H9hOHWukmtvzoioE0cU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H9hOHWukmtvzoioE0cU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H9hOHWukmtvzoioE0cU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H9hOHWukmtvzoioE0cUQ"/>
</p:tagLst>
</file>

<file path=ppt/theme/theme1.xml><?xml version="1.0" encoding="utf-8"?>
<a:theme xmlns:a="http://schemas.openxmlformats.org/drawingml/2006/main" name="PPT-mal_NIC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eebe44c5-4adf-4e5b-8c8b-9290bc5850cb">PHZVF5MS4V4Z-1573500842-115225</_dlc_DocId>
    <_dlc_DocIdUrl xmlns="eebe44c5-4adf-4e5b-8c8b-9290bc5850cb">
      <Url>https://stderr.sharepoint.com/sites/DocumentCenter/_layouts/15/DocIdRedir.aspx?ID=PHZVF5MS4V4Z-1573500842-115225</Url>
      <Description>PHZVF5MS4V4Z-1573500842-115225</Description>
    </_dlc_DocIdUrl>
    <TaxCatchAll xmlns="eebe44c5-4adf-4e5b-8c8b-9290bc5850cb" xsi:nil="true"/>
    <lcf76f155ced4ddcb4097134ff3c332f xmlns="13cc208d-6380-4a48-8b5a-73c79cd7801c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7C0A75EBC14BD418A9D72F97088F6E0" ma:contentTypeVersion="18" ma:contentTypeDescription="Create a new document." ma:contentTypeScope="" ma:versionID="b054ffc8f6688c526e3a18e4b3bce3d8">
  <xsd:schema xmlns:xsd="http://www.w3.org/2001/XMLSchema" xmlns:xs="http://www.w3.org/2001/XMLSchema" xmlns:p="http://schemas.microsoft.com/office/2006/metadata/properties" xmlns:ns2="eebe44c5-4adf-4e5b-8c8b-9290bc5850cb" xmlns:ns3="13cc208d-6380-4a48-8b5a-73c79cd7801c" targetNamespace="http://schemas.microsoft.com/office/2006/metadata/properties" ma:root="true" ma:fieldsID="0404997f9b4a664591b8334d67def4e1" ns2:_="" ns3:_="">
    <xsd:import namespace="eebe44c5-4adf-4e5b-8c8b-9290bc5850cb"/>
    <xsd:import namespace="13cc208d-6380-4a48-8b5a-73c79cd7801c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DateTaken" minOccurs="0"/>
                <xsd:element ref="ns3:MediaServiceLocation" minOccurs="0"/>
                <xsd:element ref="ns2:SharedWithUsers" minOccurs="0"/>
                <xsd:element ref="ns3:MediaServiceOCR" minOccurs="0"/>
                <xsd:element ref="ns2:SharedWithDetails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2:TaxCatchAll" minOccurs="0"/>
                <xsd:element ref="ns3:lcf76f155ced4ddcb4097134ff3c332f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ebe44c5-4adf-4e5b-8c8b-9290bc5850cb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SharedWithUsers" ma:index="16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13215b26-2f1b-4c8b-83a4-3f4f46de64da}" ma:internalName="TaxCatchAll" ma:showField="CatchAllData" ma:web="eebe44c5-4adf-4e5b-8c8b-9290bc5850c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3cc208d-6380-4a48-8b5a-73c79cd7801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MediaServiceAutoTags" ma:description="" ma:internalName="MediaServiceAutoTags" ma:readOnly="true">
      <xsd:simpleType>
        <xsd:restriction base="dms:Text"/>
      </xsd:simpleType>
    </xsd:element>
    <xsd:element name="MediaServiceDateTaken" ma:index="14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Location" ma:index="15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7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2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3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6" nillable="true" ma:taxonomy="true" ma:internalName="lcf76f155ced4ddcb4097134ff3c332f" ma:taxonomyFieldName="MediaServiceImageTags" ma:displayName="Image Tags" ma:readOnly="false" ma:fieldId="{5cf76f15-5ced-4ddc-b409-7134ff3c332f}" ma:taxonomyMulti="true" ma:sspId="8d4e003b-31bc-4944-a6c1-6e504fc62c1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AC10329-F115-4951-BE09-91C6DA9244CF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099F39AF-6920-45AD-8F1B-CEA1791166E1}">
  <ds:schemaRefs>
    <ds:schemaRef ds:uri="http://schemas.openxmlformats.org/package/2006/metadata/core-properties"/>
    <ds:schemaRef ds:uri="http://schemas.microsoft.com/office/2006/metadata/properties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a0436421-f0bd-486a-88e7-abd5c3142a2f"/>
    <ds:schemaRef ds:uri="e4701af2-6039-4481-b6e2-bd61bce39374"/>
    <ds:schemaRef ds:uri="http://www.w3.org/XML/1998/namespace"/>
    <ds:schemaRef ds:uri="http://purl.org/dc/terms/"/>
    <ds:schemaRef ds:uri="eebe44c5-4adf-4e5b-8c8b-9290bc5850cb"/>
  </ds:schemaRefs>
</ds:datastoreItem>
</file>

<file path=customXml/itemProps3.xml><?xml version="1.0" encoding="utf-8"?>
<ds:datastoreItem xmlns:ds="http://schemas.openxmlformats.org/officeDocument/2006/customXml" ds:itemID="{3F2D5F79-2F70-4F8A-A017-AC0EEC94D41D}"/>
</file>

<file path=customXml/itemProps4.xml><?xml version="1.0" encoding="utf-8"?>
<ds:datastoreItem xmlns:ds="http://schemas.openxmlformats.org/officeDocument/2006/customXml" ds:itemID="{3332DF7A-79CB-483F-8FE8-0A5E35B4985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-mal_NIC.potx</Template>
  <TotalTime>3024</TotalTime>
  <Words>1384</Words>
  <Application>Microsoft Office PowerPoint</Application>
  <PresentationFormat>On-screen Show (16:9)</PresentationFormat>
  <Paragraphs>193</Paragraphs>
  <Slides>36</Slides>
  <Notes>15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6</vt:i4>
      </vt:variant>
    </vt:vector>
  </HeadingPairs>
  <TitlesOfParts>
    <vt:vector size="43" baseType="lpstr">
      <vt:lpstr>Segoe UI Black</vt:lpstr>
      <vt:lpstr>Segoe UI Light</vt:lpstr>
      <vt:lpstr>Calibri</vt:lpstr>
      <vt:lpstr>IBM Plex Sans</vt:lpstr>
      <vt:lpstr>Verdana</vt:lpstr>
      <vt:lpstr>Arial</vt:lpstr>
      <vt:lpstr>PPT-mal_NIC</vt:lpstr>
      <vt:lpstr>PowerPoint Presentation</vt:lpstr>
      <vt:lpstr>Paula Januszkiewicz</vt:lpstr>
      <vt:lpstr>PowerPoint Presentation</vt:lpstr>
      <vt:lpstr>What does CQURE do?</vt:lpstr>
      <vt:lpstr>Impactful Hacking Stats – 2021 Summary</vt:lpstr>
      <vt:lpstr>Remote work by the numbers </vt:lpstr>
      <vt:lpstr>Six Techniques to Have Your Infrastructure Prepared for a Battle </vt:lpstr>
      <vt:lpstr>#1 Well Configured Firewall</vt:lpstr>
      <vt:lpstr>#1 Well Configured Firewall</vt:lpstr>
      <vt:lpstr>Demo: Phishing Little</vt:lpstr>
      <vt:lpstr>#2 Usage of MFA and Conditional Access</vt:lpstr>
      <vt:lpstr>#2 Usage of MFA and Conditional Access</vt:lpstr>
      <vt:lpstr>Demo: Bypassing MFA</vt:lpstr>
      <vt:lpstr>#3 Network Segmentation and SMB Signing</vt:lpstr>
      <vt:lpstr>#3A Network segmentation </vt:lpstr>
      <vt:lpstr>Demo: VPN Pivoting</vt:lpstr>
      <vt:lpstr>#3B Server Message Block Signing (or alternative) </vt:lpstr>
      <vt:lpstr>#4 Whitelisting</vt:lpstr>
      <vt:lpstr>#4A Disallowing unusual code execution</vt:lpstr>
      <vt:lpstr>#4B Whitelisting on board </vt:lpstr>
      <vt:lpstr>#5 Configuration Audit</vt:lpstr>
      <vt:lpstr>#5A Decommission of old protocols or their default settings</vt:lpstr>
      <vt:lpstr>Demo: Clear Text Queries</vt:lpstr>
      <vt:lpstr>#5B Review of the solutions that we trust  by default</vt:lpstr>
      <vt:lpstr>Demo: Common PKI Pitfalls</vt:lpstr>
      <vt:lpstr>#5C Do not fall for hipster tools </vt:lpstr>
      <vt:lpstr>#6 Connecting the dots (monitoring identity etc.)</vt:lpstr>
      <vt:lpstr>#6 Monitoring privileged accounts and identity misuse</vt:lpstr>
      <vt:lpstr>Demo: Accounts with Issues</vt:lpstr>
      <vt:lpstr>Demo: DPAPI Beauty</vt:lpstr>
      <vt:lpstr>Why human factor is so important?</vt:lpstr>
      <vt:lpstr>PowerPoint Presentation</vt:lpstr>
      <vt:lpstr>PowerPoint Presentation</vt:lpstr>
      <vt:lpstr>PowerPoint Presentation</vt:lpstr>
      <vt:lpstr>Slides and demos from the conference will be available at</vt:lpstr>
      <vt:lpstr>THANK YOU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tn</dc:creator>
  <cp:lastModifiedBy>Mateusz Rudzki</cp:lastModifiedBy>
  <cp:revision>91</cp:revision>
  <dcterms:created xsi:type="dcterms:W3CDTF">2012-11-21T10:27:26Z</dcterms:created>
  <dcterms:modified xsi:type="dcterms:W3CDTF">2022-05-27T06:19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7C0A75EBC14BD418A9D72F97088F6E0</vt:lpwstr>
  </property>
  <property fmtid="{D5CDD505-2E9C-101B-9397-08002B2CF9AE}" pid="3" name="_dlc_DocIdItemGuid">
    <vt:lpwstr>f188f6e3-391c-4ba1-8b7a-e5c7a9a3fe8b</vt:lpwstr>
  </property>
</Properties>
</file>